
<file path=[Content_Types].xml><?xml version="1.0" encoding="utf-8"?>
<Types xmlns="http://schemas.openxmlformats.org/package/2006/content-types">
  <Default Extension="emf" ContentType="image/x-emf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36" r:id="rId1"/>
    <p:sldMasterId id="2147483654" r:id="rId2"/>
  </p:sldMasterIdLst>
  <p:notesMasterIdLst>
    <p:notesMasterId r:id="rId22"/>
  </p:notesMasterIdLst>
  <p:handoutMasterIdLst>
    <p:handoutMasterId r:id="rId23"/>
  </p:handoutMasterIdLst>
  <p:sldIdLst>
    <p:sldId id="309" r:id="rId3"/>
    <p:sldId id="334" r:id="rId4"/>
    <p:sldId id="337" r:id="rId5"/>
    <p:sldId id="348" r:id="rId6"/>
    <p:sldId id="332" r:id="rId7"/>
    <p:sldId id="336" r:id="rId8"/>
    <p:sldId id="349" r:id="rId9"/>
    <p:sldId id="338" r:id="rId10"/>
    <p:sldId id="350" r:id="rId11"/>
    <p:sldId id="339" r:id="rId12"/>
    <p:sldId id="340" r:id="rId13"/>
    <p:sldId id="341" r:id="rId14"/>
    <p:sldId id="342" r:id="rId15"/>
    <p:sldId id="343" r:id="rId16"/>
    <p:sldId id="344" r:id="rId17"/>
    <p:sldId id="345" r:id="rId18"/>
    <p:sldId id="346" r:id="rId19"/>
    <p:sldId id="347" r:id="rId20"/>
    <p:sldId id="328" r:id="rId21"/>
  </p:sldIdLst>
  <p:sldSz cx="12192000" cy="6858000"/>
  <p:notesSz cx="7315200" cy="9601200"/>
  <p:custDataLst>
    <p:tags r:id="rId24"/>
  </p:custDataLst>
  <p:defaultTextStyle>
    <a:defPPr>
      <a:defRPr lang="de-CH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151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303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454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605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5755" algn="l" defTabSz="914303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2907" algn="l" defTabSz="914303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058" algn="l" defTabSz="914303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209" algn="l" defTabSz="914303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ETH" id="{948DD5B5-D3CB-486D-9278-081372DF32F5}">
          <p14:sldIdLst>
            <p14:sldId id="309"/>
            <p14:sldId id="334"/>
            <p14:sldId id="337"/>
            <p14:sldId id="348"/>
            <p14:sldId id="332"/>
            <p14:sldId id="336"/>
            <p14:sldId id="349"/>
            <p14:sldId id="338"/>
            <p14:sldId id="350"/>
            <p14:sldId id="339"/>
            <p14:sldId id="340"/>
            <p14:sldId id="341"/>
            <p14:sldId id="342"/>
            <p14:sldId id="343"/>
            <p14:sldId id="344"/>
            <p14:sldId id="345"/>
            <p14:sldId id="346"/>
            <p14:sldId id="347"/>
            <p14:sldId id="328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ukas Haferkamp" initials="LH" lastIdx="1" clrIdx="0">
    <p:extLst>
      <p:ext uri="{19B8F6BF-5375-455C-9EA6-DF929625EA0E}">
        <p15:presenceInfo xmlns:p15="http://schemas.microsoft.com/office/powerpoint/2012/main" userId="S-1-5-21-2828922841-2848253129-682252293-130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9999"/>
    <a:srgbClr val="82BD1C"/>
    <a:srgbClr val="FFFFFF"/>
    <a:srgbClr val="F8F8F8"/>
    <a:srgbClr val="DE3844"/>
    <a:srgbClr val="FF8F28"/>
    <a:srgbClr val="FDB900"/>
    <a:srgbClr val="6F6F6E"/>
    <a:srgbClr val="0E1D40"/>
    <a:srgbClr val="FF8A0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ittlere Formatvorlage 4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8350" autoAdjust="0"/>
    <p:restoredTop sz="96890" autoAdjust="0"/>
  </p:normalViewPr>
  <p:slideViewPr>
    <p:cSldViewPr snapToGrid="0" snapToObjects="1">
      <p:cViewPr>
        <p:scale>
          <a:sx n="109" d="100"/>
          <a:sy n="109" d="100"/>
        </p:scale>
        <p:origin x="776" y="576"/>
      </p:cViewPr>
      <p:guideLst/>
    </p:cSldViewPr>
  </p:slideViewPr>
  <p:outlineViewPr>
    <p:cViewPr>
      <p:scale>
        <a:sx n="33" d="100"/>
        <a:sy n="33" d="100"/>
      </p:scale>
      <p:origin x="0" y="-1818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81" d="100"/>
          <a:sy n="81" d="100"/>
        </p:scale>
        <p:origin x="3300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170432" cy="4797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72" tIns="45786" rIns="91572" bIns="45786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143064" y="0"/>
            <a:ext cx="3170432" cy="4797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72" tIns="45786" rIns="91572" bIns="45786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1434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119914"/>
            <a:ext cx="3170432" cy="4797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72" tIns="45786" rIns="91572" bIns="45786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1434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143064" y="9119914"/>
            <a:ext cx="3170432" cy="4797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72" tIns="45786" rIns="91572" bIns="45786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123E7CD7-8C2A-4C3E-87F9-094CE2ECC2C8}" type="slidenum">
              <a:rPr lang="de-CH" altLang="de-DE"/>
              <a:pPr>
                <a:defRPr/>
              </a:pPr>
              <a:t>‹N°›</a:t>
            </a:fld>
            <a:endParaRPr lang="de-CH" altLang="de-DE" dirty="0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170432" cy="4797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72" tIns="45786" rIns="91572" bIns="45786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143064" y="0"/>
            <a:ext cx="3170432" cy="4797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72" tIns="45786" rIns="91572" bIns="45786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205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7200" y="720725"/>
            <a:ext cx="6400800" cy="36004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229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30327" y="4559957"/>
            <a:ext cx="5854549" cy="43208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72" tIns="45786" rIns="91572" bIns="457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noProof="0"/>
              <a:t>Textmasterformate durch Klicken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119914"/>
            <a:ext cx="3170432" cy="4797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72" tIns="45786" rIns="91572" bIns="45786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1229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143064" y="9119914"/>
            <a:ext cx="3170432" cy="4797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72" tIns="45786" rIns="91572" bIns="45786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7B319A9F-92E0-4338-AB7C-AB768B34ABB0}" type="slidenum">
              <a:rPr lang="de-CH" altLang="de-DE"/>
              <a:pPr>
                <a:defRPr/>
              </a:pPr>
              <a:t>‹N°›</a:t>
            </a:fld>
            <a:endParaRPr lang="de-CH" alt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151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30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454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60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5755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07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58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09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66C92C65-0DDB-46DE-AF69-0518F482EDE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8" y="360538"/>
            <a:ext cx="1761709" cy="287371"/>
          </a:xfrm>
          <a:prstGeom prst="rect">
            <a:avLst/>
          </a:prstGeom>
        </p:spPr>
      </p:pic>
      <p:sp>
        <p:nvSpPr>
          <p:cNvPr id="5" name="Bildplatzhalter 4">
            <a:extLst>
              <a:ext uri="{FF2B5EF4-FFF2-40B4-BE49-F238E27FC236}">
                <a16:creationId xmlns:a16="http://schemas.microsoft.com/office/drawing/2014/main" id="{EB061823-3F7A-48C8-8477-B410C18AC1B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31838" y="1016000"/>
            <a:ext cx="10728325" cy="5256000"/>
          </a:xfrm>
        </p:spPr>
        <p:txBody>
          <a:bodyPr lIns="5580000" tIns="0" rIns="0" anchor="ctr" anchorCtr="0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de-CH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491294E-BEE7-4DA8-BBC8-88E1A7B07A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3538"/>
            <a:ext cx="5904000" cy="2772000"/>
          </a:xfrm>
          <a:solidFill>
            <a:schemeClr val="accent1"/>
          </a:solidFill>
        </p:spPr>
        <p:txBody>
          <a:bodyPr lIns="1080000" tIns="252000" anchor="t" anchorCtr="0"/>
          <a:lstStyle>
            <a:lvl1pPr algn="l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de-CH" noProof="0"/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C3C296D1-2CD0-479F-A866-6EC741D2293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200163" y="6489088"/>
            <a:ext cx="1260000" cy="180000"/>
          </a:xfrm>
        </p:spPr>
        <p:txBody>
          <a:bodyPr/>
          <a:lstStyle>
            <a:lvl1pPr marL="0" indent="0" algn="l">
              <a:buNone/>
              <a:defRPr sz="700"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1BE31-9613-4103-99FF-7DCFF643B3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78516" y="3860495"/>
            <a:ext cx="4680000" cy="1008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26670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2pPr>
            <a:lvl3pPr marL="538163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3pPr>
            <a:lvl4pPr marL="804862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4pPr>
            <a:lvl5pPr marL="1076325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406" t="23757" r="6296" b="24576"/>
          <a:stretch/>
        </p:blipFill>
        <p:spPr>
          <a:xfrm>
            <a:off x="9959021" y="386112"/>
            <a:ext cx="1501141" cy="236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63038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orient="horz" pos="640">
          <p15:clr>
            <a:srgbClr val="FBAE40"/>
          </p15:clr>
        </p15:guide>
        <p15:guide id="4" orient="horz" pos="3952">
          <p15:clr>
            <a:srgbClr val="FBAE40"/>
          </p15:clr>
        </p15:guide>
        <p15:guide id="5" pos="610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46F7F9-CBC8-4641-B12B-7E76FD213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de-CH" noProof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D3E2EF-5F98-49EC-BCEA-B215D49920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836" y="4166439"/>
            <a:ext cx="10728327" cy="1909241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DB21BA-81C0-43DB-A42C-5F672DBC3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054303-88DB-410D-AA9F-16575CCFF799}" type="datetime1">
              <a:rPr lang="de-DE" noProof="0" smtClean="0"/>
              <a:t>24.04.22</a:t>
            </a:fld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C78786-28C3-4EAB-A3FC-1A4BFA844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C1D5C1-A4AD-42D4-93B7-D3B71140E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CH" dirty="0"/>
              <a:t>Slide </a:t>
            </a:r>
            <a:fld id="{5ACA52AF-F19D-405C-AD5F-7D94B96A5CC3}" type="slidenum">
              <a:rPr lang="de-CH" noProof="0" smtClean="0"/>
              <a:t>‹N°›</a:t>
            </a:fld>
            <a:endParaRPr lang="de-CH" noProof="0" dirty="0"/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221A3BAE-B19D-4390-B4A5-2C8A2CC87C5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1838" y="1412875"/>
            <a:ext cx="3420000" cy="2484000"/>
          </a:xfrm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sp>
        <p:nvSpPr>
          <p:cNvPr id="13" name="Bildplatzhalter 10">
            <a:extLst>
              <a:ext uri="{FF2B5EF4-FFF2-40B4-BE49-F238E27FC236}">
                <a16:creationId xmlns:a16="http://schemas.microsoft.com/office/drawing/2014/main" id="{36793346-BF6B-42A8-ADE0-3AA3DC3B239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0162" y="1414800"/>
            <a:ext cx="3420000" cy="2484000"/>
          </a:xfrm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sp>
        <p:nvSpPr>
          <p:cNvPr id="14" name="Bildplatzhalter 10">
            <a:extLst>
              <a:ext uri="{FF2B5EF4-FFF2-40B4-BE49-F238E27FC236}">
                <a16:creationId xmlns:a16="http://schemas.microsoft.com/office/drawing/2014/main" id="{FE637F68-618E-43EB-B240-4BFA26852F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85999" y="1414800"/>
            <a:ext cx="3420000" cy="2484000"/>
          </a:xfrm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31836" y="6114342"/>
            <a:ext cx="10728326" cy="181125"/>
          </a:xfrm>
        </p:spPr>
        <p:txBody>
          <a:bodyPr/>
          <a:lstStyle>
            <a:lvl1pPr marL="0" indent="0" algn="r">
              <a:buNone/>
              <a:defRPr sz="9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ontent source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06888922-496B-4762-8301-131DD45206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7" y="6508502"/>
            <a:ext cx="984461" cy="160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40382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394B20FF-3667-40DF-92A1-C6CF3BBCA2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837" y="2135492"/>
            <a:ext cx="10728325" cy="3960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  <a:lvl2pPr marL="266700" indent="0">
              <a:buNone/>
              <a:defRPr>
                <a:solidFill>
                  <a:schemeClr val="bg1"/>
                </a:solidFill>
              </a:defRPr>
            </a:lvl2pPr>
            <a:lvl3pPr marL="540000" indent="0">
              <a:buNone/>
              <a:defRPr>
                <a:solidFill>
                  <a:schemeClr val="bg1"/>
                </a:solidFill>
              </a:defRPr>
            </a:lvl3pPr>
            <a:lvl4pPr marL="808537" indent="0">
              <a:buNone/>
              <a:defRPr>
                <a:solidFill>
                  <a:schemeClr val="bg1"/>
                </a:solidFill>
              </a:defRPr>
            </a:lvl4pPr>
            <a:lvl5pPr marL="1080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1" name="Bildplatzhalter 8">
            <a:extLst>
              <a:ext uri="{FF2B5EF4-FFF2-40B4-BE49-F238E27FC236}">
                <a16:creationId xmlns:a16="http://schemas.microsoft.com/office/drawing/2014/main" id="{794484F1-3B7F-46CE-AD0B-2310A557A99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200163" y="6489088"/>
            <a:ext cx="1260000" cy="180000"/>
          </a:xfrm>
        </p:spPr>
        <p:txBody>
          <a:bodyPr/>
          <a:lstStyle>
            <a:lvl1pPr marL="0" indent="0" algn="l">
              <a:buNone/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4B023D38-68C1-41F5-BAD8-AADA73C070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8" y="360538"/>
            <a:ext cx="1761709" cy="287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74754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698">
          <p15:clr>
            <a:srgbClr val="FBAE40"/>
          </p15:clr>
        </p15:guide>
        <p15:guide id="3" orient="horz" pos="640">
          <p15:clr>
            <a:srgbClr val="FBAE40"/>
          </p15:clr>
        </p15:guide>
        <p15:guide id="4" orient="horz" pos="395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mediat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46F7F9-CBC8-4641-B12B-7E76FD213E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7" y="2224781"/>
            <a:ext cx="10728325" cy="1260000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de-CH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DB21BA-81C0-43DB-A42C-5F672DBC3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7748D92-D67B-4B30-BFE2-86E347918A38}" type="datetime1">
              <a:rPr lang="de-DE" noProof="0" smtClean="0"/>
              <a:t>24.04.22</a:t>
            </a:fld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C78786-28C3-4EAB-A3FC-1A4BFA844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Footer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C1D5C1-A4AD-42D4-93B7-D3B71140E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 dirty="0"/>
              <a:t>Slide </a:t>
            </a:r>
            <a:fld id="{5ACA52AF-F19D-405C-AD5F-7D94B96A5CC3}" type="slidenum">
              <a:rPr lang="de-CH" noProof="0" smtClean="0"/>
              <a:pPr/>
              <a:t>‹N°›</a:t>
            </a:fld>
            <a:endParaRPr lang="de-CH" noProof="0" dirty="0"/>
          </a:p>
        </p:txBody>
      </p:sp>
      <p:grpSp>
        <p:nvGrpSpPr>
          <p:cNvPr id="10" name="Grafik 6">
            <a:extLst>
              <a:ext uri="{FF2B5EF4-FFF2-40B4-BE49-F238E27FC236}">
                <a16:creationId xmlns:a16="http://schemas.microsoft.com/office/drawing/2014/main" id="{7F7C476A-2849-4D68-9FA2-3A5CFC13C833}"/>
              </a:ext>
            </a:extLst>
          </p:cNvPr>
          <p:cNvGrpSpPr/>
          <p:nvPr/>
        </p:nvGrpSpPr>
        <p:grpSpPr>
          <a:xfrm>
            <a:off x="731837" y="6507088"/>
            <a:ext cx="984462" cy="162000"/>
            <a:chOff x="731837" y="6507088"/>
            <a:chExt cx="984462" cy="162000"/>
          </a:xfrm>
          <a:solidFill>
            <a:schemeClr val="bg1"/>
          </a:solidFill>
        </p:grpSpPr>
        <p:grpSp>
          <p:nvGrpSpPr>
            <p:cNvPr id="12" name="Grafik 6">
              <a:extLst>
                <a:ext uri="{FF2B5EF4-FFF2-40B4-BE49-F238E27FC236}">
                  <a16:creationId xmlns:a16="http://schemas.microsoft.com/office/drawing/2014/main" id="{7F7C476A-2849-4D68-9FA2-3A5CFC13C833}"/>
                </a:ext>
              </a:extLst>
            </p:cNvPr>
            <p:cNvGrpSpPr/>
            <p:nvPr/>
          </p:nvGrpSpPr>
          <p:grpSpPr>
            <a:xfrm>
              <a:off x="1266489" y="6555186"/>
              <a:ext cx="197463" cy="110963"/>
              <a:chOff x="1266489" y="6555186"/>
              <a:chExt cx="197463" cy="110963"/>
            </a:xfrm>
            <a:grpFill/>
          </p:grpSpPr>
          <p:sp>
            <p:nvSpPr>
              <p:cNvPr id="13" name="Freihandform: Form 12">
                <a:extLst>
                  <a:ext uri="{FF2B5EF4-FFF2-40B4-BE49-F238E27FC236}">
                    <a16:creationId xmlns:a16="http://schemas.microsoft.com/office/drawing/2014/main" id="{18BB0752-F87C-44D9-A9A5-97AF1DEDA1AE}"/>
                  </a:ext>
                </a:extLst>
              </p:cNvPr>
              <p:cNvSpPr/>
              <p:nvPr/>
            </p:nvSpPr>
            <p:spPr>
              <a:xfrm>
                <a:off x="1266489" y="6556934"/>
                <a:ext cx="95902" cy="109216"/>
              </a:xfrm>
              <a:custGeom>
                <a:avLst/>
                <a:gdLst>
                  <a:gd name="connsiteX0" fmla="*/ 66742 w 95902"/>
                  <a:gd name="connsiteY0" fmla="*/ 65797 h 109216"/>
                  <a:gd name="connsiteX1" fmla="*/ 35339 w 95902"/>
                  <a:gd name="connsiteY1" fmla="*/ 95082 h 109216"/>
                  <a:gd name="connsiteX2" fmla="*/ 15953 w 95902"/>
                  <a:gd name="connsiteY2" fmla="*/ 79537 h 109216"/>
                  <a:gd name="connsiteX3" fmla="*/ 15899 w 95902"/>
                  <a:gd name="connsiteY3" fmla="*/ 76265 h 109216"/>
                  <a:gd name="connsiteX4" fmla="*/ 16896 w 95902"/>
                  <a:gd name="connsiteY4" fmla="*/ 66295 h 109216"/>
                  <a:gd name="connsiteX5" fmla="*/ 30230 w 95902"/>
                  <a:gd name="connsiteY5" fmla="*/ 0 h 109216"/>
                  <a:gd name="connsiteX6" fmla="*/ 30230 w 95902"/>
                  <a:gd name="connsiteY6" fmla="*/ 0 h 109216"/>
                  <a:gd name="connsiteX7" fmla="*/ 14528 w 95902"/>
                  <a:gd name="connsiteY7" fmla="*/ 0 h 109216"/>
                  <a:gd name="connsiteX8" fmla="*/ 1194 w 95902"/>
                  <a:gd name="connsiteY8" fmla="*/ 67791 h 109216"/>
                  <a:gd name="connsiteX9" fmla="*/ 1194 w 95902"/>
                  <a:gd name="connsiteY9" fmla="*/ 68788 h 109216"/>
                  <a:gd name="connsiteX10" fmla="*/ 73 w 95902"/>
                  <a:gd name="connsiteY10" fmla="*/ 78508 h 109216"/>
                  <a:gd name="connsiteX11" fmla="*/ 26638 w 95902"/>
                  <a:gd name="connsiteY11" fmla="*/ 109122 h 109216"/>
                  <a:gd name="connsiteX12" fmla="*/ 29980 w 95902"/>
                  <a:gd name="connsiteY12" fmla="*/ 109163 h 109216"/>
                  <a:gd name="connsiteX13" fmla="*/ 61384 w 95902"/>
                  <a:gd name="connsiteY13" fmla="*/ 96702 h 109216"/>
                  <a:gd name="connsiteX14" fmla="*/ 59265 w 95902"/>
                  <a:gd name="connsiteY14" fmla="*/ 107917 h 109216"/>
                  <a:gd name="connsiteX15" fmla="*/ 59265 w 95902"/>
                  <a:gd name="connsiteY15" fmla="*/ 107917 h 109216"/>
                  <a:gd name="connsiteX16" fmla="*/ 74842 w 95902"/>
                  <a:gd name="connsiteY16" fmla="*/ 107917 h 109216"/>
                  <a:gd name="connsiteX17" fmla="*/ 95902 w 95902"/>
                  <a:gd name="connsiteY17" fmla="*/ 0 h 109216"/>
                  <a:gd name="connsiteX18" fmla="*/ 95902 w 95902"/>
                  <a:gd name="connsiteY18" fmla="*/ 0 h 109216"/>
                  <a:gd name="connsiteX19" fmla="*/ 79951 w 95902"/>
                  <a:gd name="connsiteY19" fmla="*/ 0 h 109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95902" h="109216">
                    <a:moveTo>
                      <a:pt x="66742" y="65797"/>
                    </a:moveTo>
                    <a:cubicBezTo>
                      <a:pt x="65228" y="82115"/>
                      <a:pt x="51723" y="94709"/>
                      <a:pt x="35339" y="95082"/>
                    </a:cubicBezTo>
                    <a:cubicBezTo>
                      <a:pt x="25692" y="96142"/>
                      <a:pt x="17013" y="89183"/>
                      <a:pt x="15953" y="79537"/>
                    </a:cubicBezTo>
                    <a:cubicBezTo>
                      <a:pt x="15833" y="78450"/>
                      <a:pt x="15814" y="77355"/>
                      <a:pt x="15899" y="76265"/>
                    </a:cubicBezTo>
                    <a:cubicBezTo>
                      <a:pt x="15976" y="72921"/>
                      <a:pt x="16309" y="69588"/>
                      <a:pt x="16896" y="66295"/>
                    </a:cubicBezTo>
                    <a:lnTo>
                      <a:pt x="30230" y="0"/>
                    </a:lnTo>
                    <a:lnTo>
                      <a:pt x="30230" y="0"/>
                    </a:lnTo>
                    <a:lnTo>
                      <a:pt x="14528" y="0"/>
                    </a:lnTo>
                    <a:lnTo>
                      <a:pt x="1194" y="67791"/>
                    </a:lnTo>
                    <a:lnTo>
                      <a:pt x="1194" y="68788"/>
                    </a:lnTo>
                    <a:cubicBezTo>
                      <a:pt x="472" y="71978"/>
                      <a:pt x="95" y="75237"/>
                      <a:pt x="73" y="78508"/>
                    </a:cubicBezTo>
                    <a:cubicBezTo>
                      <a:pt x="-1045" y="94298"/>
                      <a:pt x="10848" y="108004"/>
                      <a:pt x="26638" y="109122"/>
                    </a:cubicBezTo>
                    <a:cubicBezTo>
                      <a:pt x="27751" y="109200"/>
                      <a:pt x="28866" y="109214"/>
                      <a:pt x="29980" y="109163"/>
                    </a:cubicBezTo>
                    <a:cubicBezTo>
                      <a:pt x="41760" y="109765"/>
                      <a:pt x="53221" y="105218"/>
                      <a:pt x="61384" y="96702"/>
                    </a:cubicBezTo>
                    <a:lnTo>
                      <a:pt x="59265" y="107917"/>
                    </a:lnTo>
                    <a:lnTo>
                      <a:pt x="59265" y="107917"/>
                    </a:lnTo>
                    <a:lnTo>
                      <a:pt x="74842" y="107917"/>
                    </a:lnTo>
                    <a:lnTo>
                      <a:pt x="95902" y="0"/>
                    </a:lnTo>
                    <a:lnTo>
                      <a:pt x="95902" y="0"/>
                    </a:lnTo>
                    <a:lnTo>
                      <a:pt x="79951" y="0"/>
                    </a:lnTo>
                    <a:close/>
                  </a:path>
                </a:pathLst>
              </a:custGeom>
              <a:grpFill/>
              <a:ln w="1241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CH" noProof="0"/>
              </a:p>
            </p:txBody>
          </p:sp>
          <p:sp>
            <p:nvSpPr>
              <p:cNvPr id="14" name="Freihandform: Form 13">
                <a:extLst>
                  <a:ext uri="{FF2B5EF4-FFF2-40B4-BE49-F238E27FC236}">
                    <a16:creationId xmlns:a16="http://schemas.microsoft.com/office/drawing/2014/main" id="{ED44DE23-7081-4AC9-BF06-502BEC71C004}"/>
                  </a:ext>
                </a:extLst>
              </p:cNvPr>
              <p:cNvSpPr/>
              <p:nvPr/>
            </p:nvSpPr>
            <p:spPr>
              <a:xfrm>
                <a:off x="1376472" y="6555186"/>
                <a:ext cx="87480" cy="109664"/>
              </a:xfrm>
              <a:custGeom>
                <a:avLst/>
                <a:gdLst>
                  <a:gd name="connsiteX0" fmla="*/ 64302 w 87480"/>
                  <a:gd name="connsiteY0" fmla="*/ 3 h 109664"/>
                  <a:gd name="connsiteX1" fmla="*/ 34518 w 87480"/>
                  <a:gd name="connsiteY1" fmla="*/ 14209 h 109664"/>
                  <a:gd name="connsiteX2" fmla="*/ 36886 w 87480"/>
                  <a:gd name="connsiteY2" fmla="*/ 1747 h 109664"/>
                  <a:gd name="connsiteX3" fmla="*/ 36886 w 87480"/>
                  <a:gd name="connsiteY3" fmla="*/ 1747 h 109664"/>
                  <a:gd name="connsiteX4" fmla="*/ 21434 w 87480"/>
                  <a:gd name="connsiteY4" fmla="*/ 1747 h 109664"/>
                  <a:gd name="connsiteX5" fmla="*/ 0 w 87480"/>
                  <a:gd name="connsiteY5" fmla="*/ 109664 h 109664"/>
                  <a:gd name="connsiteX6" fmla="*/ 0 w 87480"/>
                  <a:gd name="connsiteY6" fmla="*/ 109664 h 109664"/>
                  <a:gd name="connsiteX7" fmla="*/ 15826 w 87480"/>
                  <a:gd name="connsiteY7" fmla="*/ 109664 h 109664"/>
                  <a:gd name="connsiteX8" fmla="*/ 28288 w 87480"/>
                  <a:gd name="connsiteY8" fmla="*/ 43493 h 109664"/>
                  <a:gd name="connsiteX9" fmla="*/ 59940 w 87480"/>
                  <a:gd name="connsiteY9" fmla="*/ 14209 h 109664"/>
                  <a:gd name="connsiteX10" fmla="*/ 75019 w 87480"/>
                  <a:gd name="connsiteY10" fmla="*/ 21810 h 109664"/>
                  <a:gd name="connsiteX11" fmla="*/ 75019 w 87480"/>
                  <a:gd name="connsiteY11" fmla="*/ 21810 h 109664"/>
                  <a:gd name="connsiteX12" fmla="*/ 87480 w 87480"/>
                  <a:gd name="connsiteY12" fmla="*/ 10346 h 109664"/>
                  <a:gd name="connsiteX13" fmla="*/ 87480 w 87480"/>
                  <a:gd name="connsiteY13" fmla="*/ 10346 h 109664"/>
                  <a:gd name="connsiteX14" fmla="*/ 63928 w 87480"/>
                  <a:gd name="connsiteY14" fmla="*/ 252 h 109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87480" h="109664">
                    <a:moveTo>
                      <a:pt x="64302" y="3"/>
                    </a:moveTo>
                    <a:cubicBezTo>
                      <a:pt x="52709" y="-136"/>
                      <a:pt x="41706" y="5111"/>
                      <a:pt x="34518" y="14209"/>
                    </a:cubicBezTo>
                    <a:lnTo>
                      <a:pt x="36886" y="1747"/>
                    </a:lnTo>
                    <a:lnTo>
                      <a:pt x="36886" y="1747"/>
                    </a:lnTo>
                    <a:lnTo>
                      <a:pt x="21434" y="1747"/>
                    </a:lnTo>
                    <a:lnTo>
                      <a:pt x="0" y="109664"/>
                    </a:lnTo>
                    <a:lnTo>
                      <a:pt x="0" y="109664"/>
                    </a:lnTo>
                    <a:lnTo>
                      <a:pt x="15826" y="109664"/>
                    </a:lnTo>
                    <a:lnTo>
                      <a:pt x="28288" y="43493"/>
                    </a:lnTo>
                    <a:cubicBezTo>
                      <a:pt x="30515" y="27438"/>
                      <a:pt x="43760" y="15183"/>
                      <a:pt x="59940" y="14209"/>
                    </a:cubicBezTo>
                    <a:cubicBezTo>
                      <a:pt x="65919" y="14072"/>
                      <a:pt x="71573" y="16922"/>
                      <a:pt x="75019" y="21810"/>
                    </a:cubicBezTo>
                    <a:lnTo>
                      <a:pt x="75019" y="21810"/>
                    </a:lnTo>
                    <a:lnTo>
                      <a:pt x="87480" y="10346"/>
                    </a:lnTo>
                    <a:lnTo>
                      <a:pt x="87480" y="10346"/>
                    </a:lnTo>
                    <a:cubicBezTo>
                      <a:pt x="81552" y="3603"/>
                      <a:pt x="72899" y="-105"/>
                      <a:pt x="63928" y="252"/>
                    </a:cubicBezTo>
                  </a:path>
                </a:pathLst>
              </a:custGeom>
              <a:grpFill/>
              <a:ln w="1241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CH" noProof="0"/>
              </a:p>
            </p:txBody>
          </p:sp>
        </p:grp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18C24FD2-AEE2-43CA-8EB3-8E646C2E5E46}"/>
                </a:ext>
              </a:extLst>
            </p:cNvPr>
            <p:cNvSpPr/>
            <p:nvPr/>
          </p:nvSpPr>
          <p:spPr>
            <a:xfrm>
              <a:off x="1159517" y="6556560"/>
              <a:ext cx="96452" cy="108166"/>
            </a:xfrm>
            <a:custGeom>
              <a:avLst/>
              <a:gdLst>
                <a:gd name="connsiteX0" fmla="*/ 23303 w 96452"/>
                <a:gd name="connsiteY0" fmla="*/ 0 h 108166"/>
                <a:gd name="connsiteX1" fmla="*/ 20562 w 96452"/>
                <a:gd name="connsiteY1" fmla="*/ 13708 h 108166"/>
                <a:gd name="connsiteX2" fmla="*/ 20562 w 96452"/>
                <a:gd name="connsiteY2" fmla="*/ 13957 h 108166"/>
                <a:gd name="connsiteX3" fmla="*/ 74271 w 96452"/>
                <a:gd name="connsiteY3" fmla="*/ 13957 h 108166"/>
                <a:gd name="connsiteX4" fmla="*/ 2742 w 96452"/>
                <a:gd name="connsiteY4" fmla="*/ 94957 h 108166"/>
                <a:gd name="connsiteX5" fmla="*/ 2617 w 96452"/>
                <a:gd name="connsiteY5" fmla="*/ 94957 h 108166"/>
                <a:gd name="connsiteX6" fmla="*/ 0 w 96452"/>
                <a:gd name="connsiteY6" fmla="*/ 108166 h 108166"/>
                <a:gd name="connsiteX7" fmla="*/ 76265 w 96452"/>
                <a:gd name="connsiteY7" fmla="*/ 108166 h 108166"/>
                <a:gd name="connsiteX8" fmla="*/ 79006 w 96452"/>
                <a:gd name="connsiteY8" fmla="*/ 94209 h 108166"/>
                <a:gd name="connsiteX9" fmla="*/ 21932 w 96452"/>
                <a:gd name="connsiteY9" fmla="*/ 94209 h 108166"/>
                <a:gd name="connsiteX10" fmla="*/ 93835 w 96452"/>
                <a:gd name="connsiteY10" fmla="*/ 13209 h 108166"/>
                <a:gd name="connsiteX11" fmla="*/ 93835 w 96452"/>
                <a:gd name="connsiteY11" fmla="*/ 13209 h 108166"/>
                <a:gd name="connsiteX12" fmla="*/ 96452 w 96452"/>
                <a:gd name="connsiteY12" fmla="*/ 0 h 108166"/>
                <a:gd name="connsiteX13" fmla="*/ 23303 w 96452"/>
                <a:gd name="connsiteY13" fmla="*/ 0 h 108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6452" h="108166">
                  <a:moveTo>
                    <a:pt x="23303" y="0"/>
                  </a:moveTo>
                  <a:lnTo>
                    <a:pt x="20562" y="13708"/>
                  </a:lnTo>
                  <a:lnTo>
                    <a:pt x="20562" y="13957"/>
                  </a:lnTo>
                  <a:lnTo>
                    <a:pt x="74271" y="13957"/>
                  </a:lnTo>
                  <a:lnTo>
                    <a:pt x="2742" y="94957"/>
                  </a:lnTo>
                  <a:lnTo>
                    <a:pt x="2617" y="94957"/>
                  </a:lnTo>
                  <a:lnTo>
                    <a:pt x="0" y="108166"/>
                  </a:lnTo>
                  <a:lnTo>
                    <a:pt x="76265" y="108166"/>
                  </a:lnTo>
                  <a:lnTo>
                    <a:pt x="79006" y="94209"/>
                  </a:lnTo>
                  <a:lnTo>
                    <a:pt x="21932" y="94209"/>
                  </a:lnTo>
                  <a:lnTo>
                    <a:pt x="93835" y="13209"/>
                  </a:lnTo>
                  <a:lnTo>
                    <a:pt x="93835" y="13209"/>
                  </a:lnTo>
                  <a:lnTo>
                    <a:pt x="96452" y="0"/>
                  </a:lnTo>
                  <a:lnTo>
                    <a:pt x="23303" y="0"/>
                  </a:lnTo>
                  <a:close/>
                </a:path>
              </a:pathLst>
            </a:custGeom>
            <a:grpFill/>
            <a:ln w="12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CH" noProof="0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AEE7F6F4-4D2C-45B3-A061-9606B2BD36A7}"/>
                </a:ext>
              </a:extLst>
            </p:cNvPr>
            <p:cNvSpPr/>
            <p:nvPr/>
          </p:nvSpPr>
          <p:spPr>
            <a:xfrm>
              <a:off x="1466445" y="6556560"/>
              <a:ext cx="37259" cy="108166"/>
            </a:xfrm>
            <a:custGeom>
              <a:avLst/>
              <a:gdLst>
                <a:gd name="connsiteX0" fmla="*/ 21683 w 37259"/>
                <a:gd name="connsiteY0" fmla="*/ 0 h 108166"/>
                <a:gd name="connsiteX1" fmla="*/ 0 w 37259"/>
                <a:gd name="connsiteY1" fmla="*/ 107917 h 108166"/>
                <a:gd name="connsiteX2" fmla="*/ 0 w 37259"/>
                <a:gd name="connsiteY2" fmla="*/ 108166 h 108166"/>
                <a:gd name="connsiteX3" fmla="*/ 15702 w 37259"/>
                <a:gd name="connsiteY3" fmla="*/ 108166 h 108166"/>
                <a:gd name="connsiteX4" fmla="*/ 37260 w 37259"/>
                <a:gd name="connsiteY4" fmla="*/ 0 h 108166"/>
                <a:gd name="connsiteX5" fmla="*/ 21683 w 37259"/>
                <a:gd name="connsiteY5" fmla="*/ 0 h 108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259" h="108166">
                  <a:moveTo>
                    <a:pt x="21683" y="0"/>
                  </a:moveTo>
                  <a:lnTo>
                    <a:pt x="0" y="107917"/>
                  </a:lnTo>
                  <a:lnTo>
                    <a:pt x="0" y="108166"/>
                  </a:lnTo>
                  <a:lnTo>
                    <a:pt x="15702" y="108166"/>
                  </a:lnTo>
                  <a:lnTo>
                    <a:pt x="37260" y="0"/>
                  </a:lnTo>
                  <a:lnTo>
                    <a:pt x="21683" y="0"/>
                  </a:lnTo>
                  <a:close/>
                </a:path>
              </a:pathLst>
            </a:custGeom>
            <a:grpFill/>
            <a:ln w="12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CH" noProof="0"/>
            </a:p>
          </p:txBody>
        </p:sp>
        <p:grpSp>
          <p:nvGrpSpPr>
            <p:cNvPr id="17" name="Grafik 6">
              <a:extLst>
                <a:ext uri="{FF2B5EF4-FFF2-40B4-BE49-F238E27FC236}">
                  <a16:creationId xmlns:a16="http://schemas.microsoft.com/office/drawing/2014/main" id="{7F7C476A-2849-4D68-9FA2-3A5CFC13C833}"/>
                </a:ext>
              </a:extLst>
            </p:cNvPr>
            <p:cNvGrpSpPr/>
            <p:nvPr/>
          </p:nvGrpSpPr>
          <p:grpSpPr>
            <a:xfrm>
              <a:off x="1518879" y="6507337"/>
              <a:ext cx="191395" cy="158803"/>
              <a:chOff x="1518879" y="6507337"/>
              <a:chExt cx="191395" cy="158803"/>
            </a:xfrm>
            <a:grpFill/>
          </p:grpSpPr>
          <p:sp>
            <p:nvSpPr>
              <p:cNvPr id="18" name="Freihandform: Form 17">
                <a:extLst>
                  <a:ext uri="{FF2B5EF4-FFF2-40B4-BE49-F238E27FC236}">
                    <a16:creationId xmlns:a16="http://schemas.microsoft.com/office/drawing/2014/main" id="{B2186F78-5D28-4695-8B1C-5A3F1A53AAB3}"/>
                  </a:ext>
                </a:extLst>
              </p:cNvPr>
              <p:cNvSpPr/>
              <p:nvPr/>
            </p:nvSpPr>
            <p:spPr>
              <a:xfrm>
                <a:off x="1614114" y="6507337"/>
                <a:ext cx="96160" cy="157638"/>
              </a:xfrm>
              <a:custGeom>
                <a:avLst/>
                <a:gdLst>
                  <a:gd name="connsiteX0" fmla="*/ 66046 w 96160"/>
                  <a:gd name="connsiteY0" fmla="*/ 47852 h 157638"/>
                  <a:gd name="connsiteX1" fmla="*/ 35142 w 96160"/>
                  <a:gd name="connsiteY1" fmla="*/ 60314 h 157638"/>
                  <a:gd name="connsiteX2" fmla="*/ 47603 w 96160"/>
                  <a:gd name="connsiteY2" fmla="*/ 0 h 157638"/>
                  <a:gd name="connsiteX3" fmla="*/ 31652 w 96160"/>
                  <a:gd name="connsiteY3" fmla="*/ 0 h 157638"/>
                  <a:gd name="connsiteX4" fmla="*/ 0 w 96160"/>
                  <a:gd name="connsiteY4" fmla="*/ 157389 h 157638"/>
                  <a:gd name="connsiteX5" fmla="*/ 15701 w 96160"/>
                  <a:gd name="connsiteY5" fmla="*/ 157389 h 157638"/>
                  <a:gd name="connsiteX6" fmla="*/ 28911 w 96160"/>
                  <a:gd name="connsiteY6" fmla="*/ 91218 h 157638"/>
                  <a:gd name="connsiteX7" fmla="*/ 60563 w 96160"/>
                  <a:gd name="connsiteY7" fmla="*/ 62058 h 157638"/>
                  <a:gd name="connsiteX8" fmla="*/ 79837 w 96160"/>
                  <a:gd name="connsiteY8" fmla="*/ 77742 h 157638"/>
                  <a:gd name="connsiteX9" fmla="*/ 79878 w 96160"/>
                  <a:gd name="connsiteY9" fmla="*/ 80875 h 157638"/>
                  <a:gd name="connsiteX10" fmla="*/ 78757 w 96160"/>
                  <a:gd name="connsiteY10" fmla="*/ 90969 h 157638"/>
                  <a:gd name="connsiteX11" fmla="*/ 65423 w 96160"/>
                  <a:gd name="connsiteY11" fmla="*/ 157638 h 157638"/>
                  <a:gd name="connsiteX12" fmla="*/ 81125 w 96160"/>
                  <a:gd name="connsiteY12" fmla="*/ 157638 h 157638"/>
                  <a:gd name="connsiteX13" fmla="*/ 94957 w 96160"/>
                  <a:gd name="connsiteY13" fmla="*/ 89474 h 157638"/>
                  <a:gd name="connsiteX14" fmla="*/ 96078 w 96160"/>
                  <a:gd name="connsiteY14" fmla="*/ 78757 h 157638"/>
                  <a:gd name="connsiteX15" fmla="*/ 69522 w 96160"/>
                  <a:gd name="connsiteY15" fmla="*/ 47902 h 157638"/>
                  <a:gd name="connsiteX16" fmla="*/ 66046 w 96160"/>
                  <a:gd name="connsiteY16" fmla="*/ 47852 h 1576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6160" h="157638">
                    <a:moveTo>
                      <a:pt x="66046" y="47852"/>
                    </a:moveTo>
                    <a:cubicBezTo>
                      <a:pt x="54431" y="47363"/>
                      <a:pt x="43168" y="51904"/>
                      <a:pt x="35142" y="60314"/>
                    </a:cubicBezTo>
                    <a:lnTo>
                      <a:pt x="47603" y="0"/>
                    </a:lnTo>
                    <a:lnTo>
                      <a:pt x="31652" y="0"/>
                    </a:lnTo>
                    <a:lnTo>
                      <a:pt x="0" y="157389"/>
                    </a:lnTo>
                    <a:lnTo>
                      <a:pt x="15701" y="157389"/>
                    </a:lnTo>
                    <a:lnTo>
                      <a:pt x="28911" y="91218"/>
                    </a:lnTo>
                    <a:cubicBezTo>
                      <a:pt x="30603" y="74910"/>
                      <a:pt x="44170" y="62411"/>
                      <a:pt x="60563" y="62058"/>
                    </a:cubicBezTo>
                    <a:cubicBezTo>
                      <a:pt x="70216" y="61067"/>
                      <a:pt x="78845" y="68088"/>
                      <a:pt x="79837" y="77742"/>
                    </a:cubicBezTo>
                    <a:cubicBezTo>
                      <a:pt x="79945" y="78783"/>
                      <a:pt x="79958" y="79832"/>
                      <a:pt x="79878" y="80875"/>
                    </a:cubicBezTo>
                    <a:cubicBezTo>
                      <a:pt x="79822" y="84268"/>
                      <a:pt x="79446" y="87647"/>
                      <a:pt x="78757" y="90969"/>
                    </a:cubicBezTo>
                    <a:lnTo>
                      <a:pt x="65423" y="157638"/>
                    </a:lnTo>
                    <a:lnTo>
                      <a:pt x="81125" y="157638"/>
                    </a:lnTo>
                    <a:lnTo>
                      <a:pt x="94957" y="89474"/>
                    </a:lnTo>
                    <a:cubicBezTo>
                      <a:pt x="95657" y="85943"/>
                      <a:pt x="96034" y="82356"/>
                      <a:pt x="96078" y="78757"/>
                    </a:cubicBezTo>
                    <a:cubicBezTo>
                      <a:pt x="97265" y="62903"/>
                      <a:pt x="85375" y="49089"/>
                      <a:pt x="69522" y="47902"/>
                    </a:cubicBezTo>
                    <a:cubicBezTo>
                      <a:pt x="68365" y="47815"/>
                      <a:pt x="67205" y="47799"/>
                      <a:pt x="66046" y="47852"/>
                    </a:cubicBezTo>
                  </a:path>
                </a:pathLst>
              </a:custGeom>
              <a:grpFill/>
              <a:ln w="1241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CH" noProof="0"/>
              </a:p>
            </p:txBody>
          </p:sp>
          <p:sp>
            <p:nvSpPr>
              <p:cNvPr id="19" name="Freihandform: Form 18">
                <a:extLst>
                  <a:ext uri="{FF2B5EF4-FFF2-40B4-BE49-F238E27FC236}">
                    <a16:creationId xmlns:a16="http://schemas.microsoft.com/office/drawing/2014/main" id="{1FE5475E-83C3-4BE3-BBF1-FAE9A6986B3F}"/>
                  </a:ext>
                </a:extLst>
              </p:cNvPr>
              <p:cNvSpPr/>
              <p:nvPr/>
            </p:nvSpPr>
            <p:spPr>
              <a:xfrm>
                <a:off x="1518879" y="6555189"/>
                <a:ext cx="87882" cy="110951"/>
              </a:xfrm>
              <a:custGeom>
                <a:avLst/>
                <a:gdLst>
                  <a:gd name="connsiteX0" fmla="*/ 56853 w 87882"/>
                  <a:gd name="connsiteY0" fmla="*/ 0 h 110951"/>
                  <a:gd name="connsiteX1" fmla="*/ 1649 w 87882"/>
                  <a:gd name="connsiteY1" fmla="*/ 55329 h 110951"/>
                  <a:gd name="connsiteX2" fmla="*/ 153 w 87882"/>
                  <a:gd name="connsiteY2" fmla="*/ 71903 h 110951"/>
                  <a:gd name="connsiteX3" fmla="*/ 32484 w 87882"/>
                  <a:gd name="connsiteY3" fmla="*/ 110801 h 110951"/>
                  <a:gd name="connsiteX4" fmla="*/ 37538 w 87882"/>
                  <a:gd name="connsiteY4" fmla="*/ 110908 h 110951"/>
                  <a:gd name="connsiteX5" fmla="*/ 73552 w 87882"/>
                  <a:gd name="connsiteY5" fmla="*/ 95705 h 110951"/>
                  <a:gd name="connsiteX6" fmla="*/ 73552 w 87882"/>
                  <a:gd name="connsiteY6" fmla="*/ 95705 h 110951"/>
                  <a:gd name="connsiteX7" fmla="*/ 64455 w 87882"/>
                  <a:gd name="connsiteY7" fmla="*/ 84614 h 110951"/>
                  <a:gd name="connsiteX8" fmla="*/ 64455 w 87882"/>
                  <a:gd name="connsiteY8" fmla="*/ 84614 h 110951"/>
                  <a:gd name="connsiteX9" fmla="*/ 64455 w 87882"/>
                  <a:gd name="connsiteY9" fmla="*/ 84614 h 110951"/>
                  <a:gd name="connsiteX10" fmla="*/ 38535 w 87882"/>
                  <a:gd name="connsiteY10" fmla="*/ 97075 h 110951"/>
                  <a:gd name="connsiteX11" fmla="*/ 15233 w 87882"/>
                  <a:gd name="connsiteY11" fmla="*/ 75551 h 110951"/>
                  <a:gd name="connsiteX12" fmla="*/ 15356 w 87882"/>
                  <a:gd name="connsiteY12" fmla="*/ 72152 h 110951"/>
                  <a:gd name="connsiteX13" fmla="*/ 17101 w 87882"/>
                  <a:gd name="connsiteY13" fmla="*/ 55952 h 110951"/>
                  <a:gd name="connsiteX14" fmla="*/ 31058 w 87882"/>
                  <a:gd name="connsiteY14" fmla="*/ 25048 h 110951"/>
                  <a:gd name="connsiteX15" fmla="*/ 55233 w 87882"/>
                  <a:gd name="connsiteY15" fmla="*/ 14206 h 110951"/>
                  <a:gd name="connsiteX16" fmla="*/ 76293 w 87882"/>
                  <a:gd name="connsiteY16" fmla="*/ 26668 h 110951"/>
                  <a:gd name="connsiteX17" fmla="*/ 76293 w 87882"/>
                  <a:gd name="connsiteY17" fmla="*/ 26668 h 110951"/>
                  <a:gd name="connsiteX18" fmla="*/ 87883 w 87882"/>
                  <a:gd name="connsiteY18" fmla="*/ 16823 h 110951"/>
                  <a:gd name="connsiteX19" fmla="*/ 87883 w 87882"/>
                  <a:gd name="connsiteY19" fmla="*/ 16823 h 110951"/>
                  <a:gd name="connsiteX20" fmla="*/ 56729 w 87882"/>
                  <a:gd name="connsiteY20" fmla="*/ 748 h 110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87882" h="110951">
                    <a:moveTo>
                      <a:pt x="56853" y="0"/>
                    </a:moveTo>
                    <a:cubicBezTo>
                      <a:pt x="28192" y="0"/>
                      <a:pt x="8129" y="20188"/>
                      <a:pt x="1649" y="55329"/>
                    </a:cubicBezTo>
                    <a:cubicBezTo>
                      <a:pt x="671" y="60800"/>
                      <a:pt x="170" y="66345"/>
                      <a:pt x="153" y="71903"/>
                    </a:cubicBezTo>
                    <a:cubicBezTo>
                      <a:pt x="-1660" y="91572"/>
                      <a:pt x="12814" y="108987"/>
                      <a:pt x="32484" y="110801"/>
                    </a:cubicBezTo>
                    <a:cubicBezTo>
                      <a:pt x="34163" y="110955"/>
                      <a:pt x="35853" y="110991"/>
                      <a:pt x="37538" y="110908"/>
                    </a:cubicBezTo>
                    <a:cubicBezTo>
                      <a:pt x="51112" y="110955"/>
                      <a:pt x="64118" y="105465"/>
                      <a:pt x="73552" y="95705"/>
                    </a:cubicBezTo>
                    <a:lnTo>
                      <a:pt x="73552" y="95705"/>
                    </a:lnTo>
                    <a:lnTo>
                      <a:pt x="64455" y="84614"/>
                    </a:lnTo>
                    <a:lnTo>
                      <a:pt x="64455" y="84614"/>
                    </a:lnTo>
                    <a:lnTo>
                      <a:pt x="64455" y="84614"/>
                    </a:lnTo>
                    <a:cubicBezTo>
                      <a:pt x="58138" y="92466"/>
                      <a:pt x="48613" y="97045"/>
                      <a:pt x="38535" y="97075"/>
                    </a:cubicBezTo>
                    <a:cubicBezTo>
                      <a:pt x="26157" y="97566"/>
                      <a:pt x="15724" y="87929"/>
                      <a:pt x="15233" y="75551"/>
                    </a:cubicBezTo>
                    <a:cubicBezTo>
                      <a:pt x="15188" y="74416"/>
                      <a:pt x="15229" y="73280"/>
                      <a:pt x="15356" y="72152"/>
                    </a:cubicBezTo>
                    <a:cubicBezTo>
                      <a:pt x="15424" y="66709"/>
                      <a:pt x="16008" y="61285"/>
                      <a:pt x="17101" y="55952"/>
                    </a:cubicBezTo>
                    <a:cubicBezTo>
                      <a:pt x="18838" y="44568"/>
                      <a:pt x="23666" y="33878"/>
                      <a:pt x="31058" y="25048"/>
                    </a:cubicBezTo>
                    <a:cubicBezTo>
                      <a:pt x="37213" y="18167"/>
                      <a:pt x="46002" y="14225"/>
                      <a:pt x="55233" y="14206"/>
                    </a:cubicBezTo>
                    <a:cubicBezTo>
                      <a:pt x="64085" y="13892"/>
                      <a:pt x="72308" y="18758"/>
                      <a:pt x="76293" y="26668"/>
                    </a:cubicBezTo>
                    <a:lnTo>
                      <a:pt x="76293" y="26668"/>
                    </a:lnTo>
                    <a:lnTo>
                      <a:pt x="87883" y="16823"/>
                    </a:lnTo>
                    <a:lnTo>
                      <a:pt x="87883" y="16823"/>
                    </a:lnTo>
                    <a:cubicBezTo>
                      <a:pt x="81104" y="6298"/>
                      <a:pt x="69235" y="174"/>
                      <a:pt x="56729" y="748"/>
                    </a:cubicBezTo>
                  </a:path>
                </a:pathLst>
              </a:custGeom>
              <a:grpFill/>
              <a:ln w="1241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CH" noProof="0"/>
              </a:p>
            </p:txBody>
          </p:sp>
        </p:grp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41B77B6E-E7CB-412B-95AC-A9322C6799BB}"/>
                </a:ext>
              </a:extLst>
            </p:cNvPr>
            <p:cNvSpPr/>
            <p:nvPr/>
          </p:nvSpPr>
          <p:spPr>
            <a:xfrm>
              <a:off x="1493985" y="6507088"/>
              <a:ext cx="19689" cy="19689"/>
            </a:xfrm>
            <a:custGeom>
              <a:avLst/>
              <a:gdLst>
                <a:gd name="connsiteX0" fmla="*/ 3988 w 19689"/>
                <a:gd name="connsiteY0" fmla="*/ 0 h 19689"/>
                <a:gd name="connsiteX1" fmla="*/ 0 w 19689"/>
                <a:gd name="connsiteY1" fmla="*/ 19689 h 19689"/>
                <a:gd name="connsiteX2" fmla="*/ 15826 w 19689"/>
                <a:gd name="connsiteY2" fmla="*/ 19689 h 19689"/>
                <a:gd name="connsiteX3" fmla="*/ 19689 w 19689"/>
                <a:gd name="connsiteY3" fmla="*/ 0 h 19689"/>
                <a:gd name="connsiteX4" fmla="*/ 3988 w 19689"/>
                <a:gd name="connsiteY4" fmla="*/ 0 h 19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689" h="19689">
                  <a:moveTo>
                    <a:pt x="3988" y="0"/>
                  </a:moveTo>
                  <a:lnTo>
                    <a:pt x="0" y="19689"/>
                  </a:lnTo>
                  <a:lnTo>
                    <a:pt x="15826" y="19689"/>
                  </a:lnTo>
                  <a:lnTo>
                    <a:pt x="19689" y="0"/>
                  </a:lnTo>
                  <a:lnTo>
                    <a:pt x="3988" y="0"/>
                  </a:lnTo>
                  <a:close/>
                </a:path>
              </a:pathLst>
            </a:custGeom>
            <a:grpFill/>
            <a:ln w="12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CH" noProof="0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832E5C1A-13CE-49A6-B590-B6EAA5F9E1AD}"/>
                </a:ext>
              </a:extLst>
            </p:cNvPr>
            <p:cNvSpPr/>
            <p:nvPr/>
          </p:nvSpPr>
          <p:spPr>
            <a:xfrm>
              <a:off x="1340708" y="6507088"/>
              <a:ext cx="19689" cy="19689"/>
            </a:xfrm>
            <a:custGeom>
              <a:avLst/>
              <a:gdLst>
                <a:gd name="connsiteX0" fmla="*/ 3988 w 19689"/>
                <a:gd name="connsiteY0" fmla="*/ 0 h 19689"/>
                <a:gd name="connsiteX1" fmla="*/ 0 w 19689"/>
                <a:gd name="connsiteY1" fmla="*/ 19689 h 19689"/>
                <a:gd name="connsiteX2" fmla="*/ 15826 w 19689"/>
                <a:gd name="connsiteY2" fmla="*/ 19689 h 19689"/>
                <a:gd name="connsiteX3" fmla="*/ 19689 w 19689"/>
                <a:gd name="connsiteY3" fmla="*/ 0 h 19689"/>
                <a:gd name="connsiteX4" fmla="*/ 3988 w 19689"/>
                <a:gd name="connsiteY4" fmla="*/ 0 h 19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689" h="19689">
                  <a:moveTo>
                    <a:pt x="3988" y="0"/>
                  </a:moveTo>
                  <a:lnTo>
                    <a:pt x="0" y="19689"/>
                  </a:lnTo>
                  <a:lnTo>
                    <a:pt x="15826" y="19689"/>
                  </a:lnTo>
                  <a:lnTo>
                    <a:pt x="19689" y="0"/>
                  </a:lnTo>
                  <a:lnTo>
                    <a:pt x="3988" y="0"/>
                  </a:lnTo>
                  <a:close/>
                </a:path>
              </a:pathLst>
            </a:custGeom>
            <a:grpFill/>
            <a:ln w="12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CH" noProof="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63AE00B0-780F-4053-8FE9-B7D321217AFF}"/>
                </a:ext>
              </a:extLst>
            </p:cNvPr>
            <p:cNvSpPr/>
            <p:nvPr/>
          </p:nvSpPr>
          <p:spPr>
            <a:xfrm>
              <a:off x="1298712" y="6507088"/>
              <a:ext cx="19689" cy="19689"/>
            </a:xfrm>
            <a:custGeom>
              <a:avLst/>
              <a:gdLst>
                <a:gd name="connsiteX0" fmla="*/ 3988 w 19689"/>
                <a:gd name="connsiteY0" fmla="*/ 0 h 19689"/>
                <a:gd name="connsiteX1" fmla="*/ 0 w 19689"/>
                <a:gd name="connsiteY1" fmla="*/ 19689 h 19689"/>
                <a:gd name="connsiteX2" fmla="*/ 15702 w 19689"/>
                <a:gd name="connsiteY2" fmla="*/ 19689 h 19689"/>
                <a:gd name="connsiteX3" fmla="*/ 19689 w 19689"/>
                <a:gd name="connsiteY3" fmla="*/ 0 h 19689"/>
                <a:gd name="connsiteX4" fmla="*/ 3988 w 19689"/>
                <a:gd name="connsiteY4" fmla="*/ 0 h 19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689" h="19689">
                  <a:moveTo>
                    <a:pt x="3988" y="0"/>
                  </a:moveTo>
                  <a:lnTo>
                    <a:pt x="0" y="19689"/>
                  </a:lnTo>
                  <a:lnTo>
                    <a:pt x="15702" y="19689"/>
                  </a:lnTo>
                  <a:lnTo>
                    <a:pt x="19689" y="0"/>
                  </a:lnTo>
                  <a:lnTo>
                    <a:pt x="3988" y="0"/>
                  </a:lnTo>
                  <a:close/>
                </a:path>
              </a:pathLst>
            </a:custGeom>
            <a:grpFill/>
            <a:ln w="12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CH" noProof="0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2406CEAF-7399-4CCB-A322-03F0BA2532F5}"/>
                </a:ext>
              </a:extLst>
            </p:cNvPr>
            <p:cNvSpPr/>
            <p:nvPr/>
          </p:nvSpPr>
          <p:spPr>
            <a:xfrm>
              <a:off x="731837" y="6507088"/>
              <a:ext cx="417960" cy="157638"/>
            </a:xfrm>
            <a:custGeom>
              <a:avLst/>
              <a:gdLst>
                <a:gd name="connsiteX0" fmla="*/ 368612 w 417960"/>
                <a:gd name="connsiteY0" fmla="*/ 0 h 157638"/>
                <a:gd name="connsiteX1" fmla="*/ 356151 w 417960"/>
                <a:gd name="connsiteY1" fmla="*/ 61062 h 157638"/>
                <a:gd name="connsiteX2" fmla="*/ 320760 w 417960"/>
                <a:gd name="connsiteY2" fmla="*/ 61062 h 157638"/>
                <a:gd name="connsiteX3" fmla="*/ 333222 w 417960"/>
                <a:gd name="connsiteY3" fmla="*/ 0 h 157638"/>
                <a:gd name="connsiteX4" fmla="*/ 31652 w 417960"/>
                <a:gd name="connsiteY4" fmla="*/ 0 h 157638"/>
                <a:gd name="connsiteX5" fmla="*/ 0 w 417960"/>
                <a:gd name="connsiteY5" fmla="*/ 157638 h 157638"/>
                <a:gd name="connsiteX6" fmla="*/ 120254 w 417960"/>
                <a:gd name="connsiteY6" fmla="*/ 157638 h 157638"/>
                <a:gd name="connsiteX7" fmla="*/ 128105 w 417960"/>
                <a:gd name="connsiteY7" fmla="*/ 118260 h 157638"/>
                <a:gd name="connsiteX8" fmla="*/ 57074 w 417960"/>
                <a:gd name="connsiteY8" fmla="*/ 118260 h 157638"/>
                <a:gd name="connsiteX9" fmla="*/ 61435 w 417960"/>
                <a:gd name="connsiteY9" fmla="*/ 96577 h 157638"/>
                <a:gd name="connsiteX10" fmla="*/ 132342 w 417960"/>
                <a:gd name="connsiteY10" fmla="*/ 96577 h 157638"/>
                <a:gd name="connsiteX11" fmla="*/ 139569 w 417960"/>
                <a:gd name="connsiteY11" fmla="*/ 61062 h 157638"/>
                <a:gd name="connsiteX12" fmla="*/ 68538 w 417960"/>
                <a:gd name="connsiteY12" fmla="*/ 61062 h 157638"/>
                <a:gd name="connsiteX13" fmla="*/ 72900 w 417960"/>
                <a:gd name="connsiteY13" fmla="*/ 39378 h 157638"/>
                <a:gd name="connsiteX14" fmla="*/ 185303 w 417960"/>
                <a:gd name="connsiteY14" fmla="*/ 39378 h 157638"/>
                <a:gd name="connsiteX15" fmla="*/ 161626 w 417960"/>
                <a:gd name="connsiteY15" fmla="*/ 157638 h 157638"/>
                <a:gd name="connsiteX16" fmla="*/ 210849 w 417960"/>
                <a:gd name="connsiteY16" fmla="*/ 157638 h 157638"/>
                <a:gd name="connsiteX17" fmla="*/ 234651 w 417960"/>
                <a:gd name="connsiteY17" fmla="*/ 39378 h 157638"/>
                <a:gd name="connsiteX18" fmla="*/ 276023 w 417960"/>
                <a:gd name="connsiteY18" fmla="*/ 39378 h 157638"/>
                <a:gd name="connsiteX19" fmla="*/ 252222 w 417960"/>
                <a:gd name="connsiteY19" fmla="*/ 157638 h 157638"/>
                <a:gd name="connsiteX20" fmla="*/ 301569 w 417960"/>
                <a:gd name="connsiteY20" fmla="*/ 157638 h 157638"/>
                <a:gd name="connsiteX21" fmla="*/ 313657 w 417960"/>
                <a:gd name="connsiteY21" fmla="*/ 96577 h 157638"/>
                <a:gd name="connsiteX22" fmla="*/ 349172 w 417960"/>
                <a:gd name="connsiteY22" fmla="*/ 96577 h 157638"/>
                <a:gd name="connsiteX23" fmla="*/ 336960 w 417960"/>
                <a:gd name="connsiteY23" fmla="*/ 157638 h 157638"/>
                <a:gd name="connsiteX24" fmla="*/ 386308 w 417960"/>
                <a:gd name="connsiteY24" fmla="*/ 157638 h 157638"/>
                <a:gd name="connsiteX25" fmla="*/ 417960 w 417960"/>
                <a:gd name="connsiteY25" fmla="*/ 0 h 157638"/>
                <a:gd name="connsiteX26" fmla="*/ 368612 w 417960"/>
                <a:gd name="connsiteY26" fmla="*/ 0 h 157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7960" h="157638">
                  <a:moveTo>
                    <a:pt x="368612" y="0"/>
                  </a:moveTo>
                  <a:lnTo>
                    <a:pt x="356151" y="61062"/>
                  </a:lnTo>
                  <a:lnTo>
                    <a:pt x="320760" y="61062"/>
                  </a:lnTo>
                  <a:lnTo>
                    <a:pt x="333222" y="0"/>
                  </a:lnTo>
                  <a:lnTo>
                    <a:pt x="31652" y="0"/>
                  </a:lnTo>
                  <a:lnTo>
                    <a:pt x="0" y="157638"/>
                  </a:lnTo>
                  <a:lnTo>
                    <a:pt x="120254" y="157638"/>
                  </a:lnTo>
                  <a:lnTo>
                    <a:pt x="128105" y="118260"/>
                  </a:lnTo>
                  <a:lnTo>
                    <a:pt x="57074" y="118260"/>
                  </a:lnTo>
                  <a:lnTo>
                    <a:pt x="61435" y="96577"/>
                  </a:lnTo>
                  <a:lnTo>
                    <a:pt x="132342" y="96577"/>
                  </a:lnTo>
                  <a:lnTo>
                    <a:pt x="139569" y="61062"/>
                  </a:lnTo>
                  <a:lnTo>
                    <a:pt x="68538" y="61062"/>
                  </a:lnTo>
                  <a:lnTo>
                    <a:pt x="72900" y="39378"/>
                  </a:lnTo>
                  <a:lnTo>
                    <a:pt x="185303" y="39378"/>
                  </a:lnTo>
                  <a:lnTo>
                    <a:pt x="161626" y="157638"/>
                  </a:lnTo>
                  <a:lnTo>
                    <a:pt x="210849" y="157638"/>
                  </a:lnTo>
                  <a:lnTo>
                    <a:pt x="234651" y="39378"/>
                  </a:lnTo>
                  <a:lnTo>
                    <a:pt x="276023" y="39378"/>
                  </a:lnTo>
                  <a:lnTo>
                    <a:pt x="252222" y="157638"/>
                  </a:lnTo>
                  <a:lnTo>
                    <a:pt x="301569" y="157638"/>
                  </a:lnTo>
                  <a:lnTo>
                    <a:pt x="313657" y="96577"/>
                  </a:lnTo>
                  <a:lnTo>
                    <a:pt x="349172" y="96577"/>
                  </a:lnTo>
                  <a:lnTo>
                    <a:pt x="336960" y="157638"/>
                  </a:lnTo>
                  <a:lnTo>
                    <a:pt x="386308" y="157638"/>
                  </a:lnTo>
                  <a:lnTo>
                    <a:pt x="417960" y="0"/>
                  </a:lnTo>
                  <a:lnTo>
                    <a:pt x="368612" y="0"/>
                  </a:lnTo>
                  <a:close/>
                </a:path>
              </a:pathLst>
            </a:custGeom>
            <a:grpFill/>
            <a:ln w="12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CH" noProof="0"/>
            </a:p>
          </p:txBody>
        </p:sp>
      </p:grpSp>
      <p:grpSp>
        <p:nvGrpSpPr>
          <p:cNvPr id="3" name="Group 2"/>
          <p:cNvGrpSpPr/>
          <p:nvPr userDrawn="1"/>
        </p:nvGrpSpPr>
        <p:grpSpPr>
          <a:xfrm>
            <a:off x="9849083" y="278097"/>
            <a:ext cx="1736809" cy="457200"/>
            <a:chOff x="10266509" y="280002"/>
            <a:chExt cx="1736809" cy="457200"/>
          </a:xfrm>
        </p:grpSpPr>
        <p:pic>
          <p:nvPicPr>
            <p:cNvPr id="26" name="Picture 25"/>
            <p:cNvPicPr>
              <a:picLocks noChangeAspect="1"/>
            </p:cNvPicPr>
            <p:nvPr userDrawn="1"/>
          </p:nvPicPr>
          <p:blipFill rotWithShape="1">
            <a:blip r:embed="rId2" cstate="print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4030"/>
            <a:stretch/>
          </p:blipFill>
          <p:spPr>
            <a:xfrm>
              <a:off x="10868932" y="280002"/>
              <a:ext cx="1134386" cy="457200"/>
            </a:xfrm>
            <a:prstGeom prst="rect">
              <a:avLst/>
            </a:prstGeom>
          </p:spPr>
        </p:pic>
        <p:pic>
          <p:nvPicPr>
            <p:cNvPr id="27" name="Picture 26"/>
            <p:cNvPicPr>
              <a:picLocks noChangeAspect="1"/>
            </p:cNvPicPr>
            <p:nvPr userDrawn="1"/>
          </p:nvPicPr>
          <p:blipFill rotWithShape="1">
            <a:blip r:embed="rId2" cstate="print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65970"/>
            <a:stretch/>
          </p:blipFill>
          <p:spPr>
            <a:xfrm>
              <a:off x="10266509" y="280002"/>
              <a:ext cx="585170" cy="4572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032905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46F7F9-CBC8-4641-B12B-7E76FD213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de-CH" noProof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D3E2EF-5F98-49EC-BCEA-B215D49920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539750" indent="-539750">
              <a:buFont typeface="+mj-lt"/>
              <a:buAutoNum type="arabicPeriod"/>
              <a:defRPr/>
            </a:lvl1pPr>
            <a:lvl2pPr marL="1079500" indent="-539750">
              <a:buFont typeface="+mj-lt"/>
              <a:buAutoNum type="arabicPeriod"/>
              <a:defRPr/>
            </a:lvl2pPr>
            <a:lvl3pPr marL="1612900" indent="-533400">
              <a:buFont typeface="+mj-lt"/>
              <a:buAutoNum type="arabicPeriod"/>
              <a:defRPr/>
            </a:lvl3pPr>
            <a:lvl4pPr marL="2152650" indent="-539750">
              <a:buFont typeface="+mj-lt"/>
              <a:buAutoNum type="arabicPeriod"/>
              <a:defRPr/>
            </a:lvl4pPr>
            <a:lvl5pPr marL="2692400" indent="-539750">
              <a:buFont typeface="+mj-lt"/>
              <a:buAutoNum type="arabicPeriod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D2041561-F9F3-E847-990D-39A8FC85E1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05EA5F-D594-495C-A888-11B1F6429033}" type="datetime1">
              <a:rPr lang="de-DE" noProof="0" smtClean="0"/>
              <a:t>24.04.22</a:t>
            </a:fld>
            <a:endParaRPr lang="de-CH" noProof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CADCA483-FF75-374F-ADDD-66884DDB25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Footer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56F2597D-7B64-BD4C-A8DE-23A03FC551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CH" dirty="0"/>
              <a:t>Slide </a:t>
            </a:r>
            <a:fld id="{5ACA52AF-F19D-405C-AD5F-7D94B96A5CC3}" type="slidenum">
              <a:rPr lang="de-CH" noProof="0" smtClean="0"/>
              <a:pPr/>
              <a:t>‹N°›</a:t>
            </a:fld>
            <a:endParaRPr lang="de-CH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31837" y="6114342"/>
            <a:ext cx="10728325" cy="181125"/>
          </a:xfrm>
        </p:spPr>
        <p:txBody>
          <a:bodyPr/>
          <a:lstStyle>
            <a:lvl1pPr marL="0" indent="0" algn="r">
              <a:buNone/>
              <a:defRPr sz="9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ontent sourc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168A3472-B550-41A4-8275-F7E572C63C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7" y="6508502"/>
            <a:ext cx="984461" cy="160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92853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0"/>
          </p:nvPr>
        </p:nvSpPr>
        <p:spPr>
          <a:xfrm>
            <a:off x="480575" y="786213"/>
            <a:ext cx="11232000" cy="545107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>
          <a:xfrm>
            <a:off x="0" y="3615673"/>
            <a:ext cx="5760000" cy="1519101"/>
          </a:xfrm>
          <a:solidFill>
            <a:srgbClr val="999999"/>
          </a:solidFill>
          <a:ln>
            <a:noFill/>
          </a:ln>
        </p:spPr>
        <p:txBody>
          <a:bodyPr lIns="108000" tIns="108000" anchor="t"/>
          <a:lstStyle>
            <a:lvl1pPr>
              <a:defRPr sz="24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4378775"/>
            <a:ext cx="5760000" cy="756000"/>
          </a:xfrm>
        </p:spPr>
        <p:txBody>
          <a:bodyPr lIns="108000"/>
          <a:lstStyle>
            <a:lvl1pPr marL="0" indent="0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, e.g. </a:t>
            </a:r>
            <a:r>
              <a:rPr lang="de-DE" dirty="0" err="1"/>
              <a:t>name</a:t>
            </a:r>
            <a:r>
              <a:rPr lang="de-DE" dirty="0"/>
              <a:t> and </a:t>
            </a:r>
            <a:r>
              <a:rPr lang="de-DE" dirty="0" err="1"/>
              <a:t>da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01088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0"/>
          </p:nvPr>
        </p:nvSpPr>
        <p:spPr>
          <a:xfrm>
            <a:off x="479425" y="786213"/>
            <a:ext cx="11232000" cy="545107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>
          <a:xfrm>
            <a:off x="6432000" y="3615673"/>
            <a:ext cx="5760000" cy="1519101"/>
          </a:xfrm>
          <a:solidFill>
            <a:srgbClr val="999999"/>
          </a:solidFill>
          <a:ln>
            <a:noFill/>
          </a:ln>
        </p:spPr>
        <p:txBody>
          <a:bodyPr lIns="108000" tIns="108000" anchor="t"/>
          <a:lstStyle>
            <a:lvl1pPr>
              <a:defRPr sz="24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en-US" dirty="0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432000" y="4378774"/>
            <a:ext cx="5760000" cy="756000"/>
          </a:xfrm>
        </p:spPr>
        <p:txBody>
          <a:bodyPr lIns="108000"/>
          <a:lstStyle>
            <a:lvl1pPr marL="0" indent="0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, e.g. </a:t>
            </a:r>
            <a:r>
              <a:rPr lang="de-DE" dirty="0" err="1"/>
              <a:t>name</a:t>
            </a:r>
            <a:r>
              <a:rPr lang="de-DE" dirty="0"/>
              <a:t> and </a:t>
            </a:r>
            <a:r>
              <a:rPr lang="de-DE" dirty="0" err="1"/>
              <a:t>da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10856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977EC8-DAD9-43AB-836C-485CF0AA46C7}" type="datetime1">
              <a:rPr lang="de-DE" smtClean="0"/>
              <a:t>24.04.22</a:t>
            </a:fld>
            <a:endParaRPr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lide </a:t>
            </a:r>
            <a:fld id="{3B04BC8F-45B3-45BF-A9B7-8A27B0C636DB}" type="slidenum">
              <a:rPr smtClean="0"/>
              <a:pPr/>
              <a:t>‹N°›</a:t>
            </a:fld>
            <a:endParaRPr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480001" y="1125539"/>
            <a:ext cx="11232574" cy="48942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480001" y="6056163"/>
            <a:ext cx="11232575" cy="181125"/>
          </a:xfrm>
        </p:spPr>
        <p:txBody>
          <a:bodyPr/>
          <a:lstStyle>
            <a:lvl1pPr marL="0" indent="0" algn="r">
              <a:buNone/>
              <a:defRPr sz="9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ontent source</a:t>
            </a:r>
          </a:p>
        </p:txBody>
      </p:sp>
    </p:spTree>
    <p:extLst>
      <p:ext uri="{BB962C8B-B14F-4D97-AF65-F5344CB8AC3E}">
        <p14:creationId xmlns:p14="http://schemas.microsoft.com/office/powerpoint/2010/main" val="38040637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CA7680-ABD9-4ACA-AFBD-25BC06F81FE5}" type="datetime1">
              <a:rPr lang="de-DE" smtClean="0"/>
              <a:t>24.04.22</a:t>
            </a:fld>
            <a:endParaRPr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lide </a:t>
            </a:r>
            <a:fld id="{3B04BC8F-45B3-45BF-A9B7-8A27B0C636DB}" type="slidenum">
              <a:rPr smtClean="0"/>
              <a:pPr/>
              <a:t>‹N°›</a:t>
            </a:fld>
            <a:endParaRPr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4"/>
          </p:nvPr>
        </p:nvSpPr>
        <p:spPr>
          <a:xfrm>
            <a:off x="479425" y="1125288"/>
            <a:ext cx="5544000" cy="490975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5"/>
          </p:nvPr>
        </p:nvSpPr>
        <p:spPr>
          <a:xfrm>
            <a:off x="6167438" y="1126800"/>
            <a:ext cx="5544000" cy="490824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6167438" y="6056163"/>
            <a:ext cx="5544000" cy="181125"/>
          </a:xfrm>
        </p:spPr>
        <p:txBody>
          <a:bodyPr/>
          <a:lstStyle>
            <a:lvl1pPr marL="0" indent="0" algn="r">
              <a:buNone/>
              <a:defRPr sz="9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ontent sourc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479424" y="6053765"/>
            <a:ext cx="5544000" cy="181125"/>
          </a:xfrm>
        </p:spPr>
        <p:txBody>
          <a:bodyPr/>
          <a:lstStyle>
            <a:lvl1pPr marL="0" indent="0" algn="r">
              <a:buNone/>
              <a:defRPr sz="9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ontent source</a:t>
            </a:r>
          </a:p>
        </p:txBody>
      </p:sp>
    </p:spTree>
    <p:extLst>
      <p:ext uri="{BB962C8B-B14F-4D97-AF65-F5344CB8AC3E}">
        <p14:creationId xmlns:p14="http://schemas.microsoft.com/office/powerpoint/2010/main" val="39516898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lden rati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6F308F-C713-40B3-B450-74DAADC033ED}" type="datetime1">
              <a:rPr lang="de-DE" smtClean="0"/>
              <a:t>24.04.22</a:t>
            </a:fld>
            <a:endParaRPr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lide </a:t>
            </a:r>
            <a:fld id="{3B04BC8F-45B3-45BF-A9B7-8A27B0C636DB}" type="slidenum">
              <a:rPr smtClean="0"/>
              <a:pPr/>
              <a:t>‹N°›</a:t>
            </a:fld>
            <a:endParaRPr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480001" y="1125538"/>
            <a:ext cx="6948000" cy="489934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Inhaltsplatzhalter 8"/>
          <p:cNvSpPr>
            <a:spLocks noGrp="1"/>
          </p:cNvSpPr>
          <p:nvPr>
            <p:ph sz="quarter" idx="14"/>
          </p:nvPr>
        </p:nvSpPr>
        <p:spPr>
          <a:xfrm>
            <a:off x="7554531" y="1125538"/>
            <a:ext cx="4140000" cy="489934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7554531" y="6053330"/>
            <a:ext cx="4140000" cy="181125"/>
          </a:xfrm>
        </p:spPr>
        <p:txBody>
          <a:bodyPr/>
          <a:lstStyle>
            <a:lvl1pPr marL="0" indent="0" algn="r">
              <a:buNone/>
              <a:defRPr sz="9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ontent sourc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479423" y="6053330"/>
            <a:ext cx="6948577" cy="181125"/>
          </a:xfrm>
        </p:spPr>
        <p:txBody>
          <a:bodyPr/>
          <a:lstStyle>
            <a:lvl1pPr marL="0" indent="0" algn="r">
              <a:buNone/>
              <a:defRPr sz="9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ontent source</a:t>
            </a:r>
          </a:p>
        </p:txBody>
      </p:sp>
    </p:spTree>
    <p:extLst>
      <p:ext uri="{BB962C8B-B14F-4D97-AF65-F5344CB8AC3E}">
        <p14:creationId xmlns:p14="http://schemas.microsoft.com/office/powerpoint/2010/main" val="60390435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lden rati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A9A767-7A87-4F56-9BFA-4FD69C84EA09}" type="datetime1">
              <a:rPr lang="de-DE" smtClean="0"/>
              <a:t>24.04.22</a:t>
            </a:fld>
            <a:endParaRPr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lide </a:t>
            </a:r>
            <a:fld id="{3B04BC8F-45B3-45BF-A9B7-8A27B0C636DB}" type="slidenum">
              <a:rPr smtClean="0"/>
              <a:pPr/>
              <a:t>‹N°›</a:t>
            </a:fld>
            <a:endParaRPr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480001" y="1125538"/>
            <a:ext cx="4140000" cy="489934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Inhaltsplatzhalter 8"/>
          <p:cNvSpPr>
            <a:spLocks noGrp="1"/>
          </p:cNvSpPr>
          <p:nvPr>
            <p:ph sz="quarter" idx="14"/>
          </p:nvPr>
        </p:nvSpPr>
        <p:spPr>
          <a:xfrm>
            <a:off x="4764575" y="1125538"/>
            <a:ext cx="6948000" cy="489934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479424" y="6043855"/>
            <a:ext cx="4140578" cy="181125"/>
          </a:xfrm>
        </p:spPr>
        <p:txBody>
          <a:bodyPr/>
          <a:lstStyle>
            <a:lvl1pPr marL="0" indent="0" algn="r">
              <a:buNone/>
              <a:defRPr sz="9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ontent sourc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4764575" y="6043855"/>
            <a:ext cx="6948577" cy="181125"/>
          </a:xfrm>
        </p:spPr>
        <p:txBody>
          <a:bodyPr/>
          <a:lstStyle>
            <a:lvl1pPr marL="0" indent="0" algn="r">
              <a:buNone/>
              <a:defRPr sz="9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ontent source</a:t>
            </a:r>
          </a:p>
        </p:txBody>
      </p:sp>
    </p:spTree>
    <p:extLst>
      <p:ext uri="{BB962C8B-B14F-4D97-AF65-F5344CB8AC3E}">
        <p14:creationId xmlns:p14="http://schemas.microsoft.com/office/powerpoint/2010/main" val="38784780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8A01615F-450E-43D0-B554-DA3FBD48DF3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31838" y="1016000"/>
            <a:ext cx="10728325" cy="5256000"/>
          </a:xfrm>
        </p:spPr>
        <p:txBody>
          <a:bodyPr lIns="0" tIns="0" rIns="558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491294E-BEE7-4DA8-BBC8-88E1A7B07A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04000" y="2957494"/>
            <a:ext cx="5688000" cy="2268000"/>
          </a:xfrm>
          <a:solidFill>
            <a:schemeClr val="accent2"/>
          </a:solidFill>
        </p:spPr>
        <p:txBody>
          <a:bodyPr lIns="324000" tIns="252000" anchor="t" anchorCtr="0"/>
          <a:lstStyle>
            <a:lvl1pPr algn="l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de-CH" noProof="0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003A487C-8977-4264-A8A1-D6C1DB60468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845210" y="4639666"/>
            <a:ext cx="4320000" cy="468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26670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2pPr>
            <a:lvl3pPr marL="538163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3pPr>
            <a:lvl4pPr marL="804862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4pPr>
            <a:lvl5pPr marL="1076325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Bildplatzhalter 8">
            <a:extLst>
              <a:ext uri="{FF2B5EF4-FFF2-40B4-BE49-F238E27FC236}">
                <a16:creationId xmlns:a16="http://schemas.microsoft.com/office/drawing/2014/main" id="{E91D3734-CD8F-4F94-A813-570EF31C473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200163" y="6489088"/>
            <a:ext cx="1260000" cy="180000"/>
          </a:xfrm>
        </p:spPr>
        <p:txBody>
          <a:bodyPr/>
          <a:lstStyle>
            <a:lvl1pPr marL="0" indent="0" algn="l">
              <a:buNone/>
              <a:defRPr sz="700"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28354129-2280-487D-AD98-CDF665D2EC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8" y="360538"/>
            <a:ext cx="1761709" cy="287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6521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640">
          <p15:clr>
            <a:srgbClr val="FBAE40"/>
          </p15:clr>
        </p15:guide>
        <p15:guide id="4" orient="horz" pos="3952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A1AE32-B24D-4108-AD43-C77AB4F571BA}" type="datetime1">
              <a:rPr lang="de-DE" smtClean="0"/>
              <a:t>24.04.22</a:t>
            </a:fld>
            <a:endParaRPr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lide </a:t>
            </a:r>
            <a:fld id="{3B04BC8F-45B3-45BF-A9B7-8A27B0C636DB}" type="slidenum">
              <a:rPr smtClean="0"/>
              <a:pPr/>
              <a:t>‹N°›</a:t>
            </a:fld>
            <a:endParaRPr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480001" y="1125537"/>
            <a:ext cx="3636000" cy="490759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Inhaltsplatzhalter 8"/>
          <p:cNvSpPr>
            <a:spLocks noGrp="1"/>
          </p:cNvSpPr>
          <p:nvPr>
            <p:ph sz="quarter" idx="14"/>
          </p:nvPr>
        </p:nvSpPr>
        <p:spPr>
          <a:xfrm>
            <a:off x="8076575" y="1125538"/>
            <a:ext cx="3636000" cy="49075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Inhaltsplatzhalter 8"/>
          <p:cNvSpPr>
            <a:spLocks noGrp="1"/>
          </p:cNvSpPr>
          <p:nvPr>
            <p:ph sz="quarter" idx="15"/>
          </p:nvPr>
        </p:nvSpPr>
        <p:spPr>
          <a:xfrm>
            <a:off x="4278001" y="1125538"/>
            <a:ext cx="3636000" cy="49075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480001" y="6054816"/>
            <a:ext cx="3636004" cy="175710"/>
          </a:xfrm>
        </p:spPr>
        <p:txBody>
          <a:bodyPr/>
          <a:lstStyle>
            <a:lvl1pPr marL="0" indent="0" algn="r">
              <a:buNone/>
              <a:defRPr sz="9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ontent source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4278578" y="6054816"/>
            <a:ext cx="3636004" cy="175710"/>
          </a:xfrm>
        </p:spPr>
        <p:txBody>
          <a:bodyPr/>
          <a:lstStyle>
            <a:lvl1pPr marL="0" indent="0" algn="r">
              <a:buNone/>
              <a:defRPr sz="9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onten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8076579" y="6054816"/>
            <a:ext cx="3636004" cy="175710"/>
          </a:xfrm>
        </p:spPr>
        <p:txBody>
          <a:bodyPr/>
          <a:lstStyle>
            <a:lvl1pPr marL="0" indent="0" algn="r">
              <a:buNone/>
              <a:defRPr sz="9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ontent source</a:t>
            </a:r>
          </a:p>
        </p:txBody>
      </p:sp>
    </p:spTree>
    <p:extLst>
      <p:ext uri="{BB962C8B-B14F-4D97-AF65-F5344CB8AC3E}">
        <p14:creationId xmlns:p14="http://schemas.microsoft.com/office/powerpoint/2010/main" val="93705301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, 2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5A767F-F431-4B41-94D3-AB249D85A6B7}" type="datetime1">
              <a:rPr lang="de-DE" smtClean="0"/>
              <a:t>24.04.22</a:t>
            </a:fld>
            <a:endParaRPr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lide </a:t>
            </a:r>
            <a:fld id="{3B04BC8F-45B3-45BF-A9B7-8A27B0C636DB}" type="slidenum">
              <a:rPr smtClean="0"/>
              <a:pPr/>
              <a:t>‹N°›</a:t>
            </a:fld>
            <a:endParaRPr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480001" y="1620870"/>
            <a:ext cx="11232574" cy="441036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480000" y="1138435"/>
            <a:ext cx="11232000" cy="360000"/>
          </a:xfrm>
        </p:spPr>
        <p:txBody>
          <a:bodyPr/>
          <a:lstStyle>
            <a:lvl1pPr marL="0" indent="0">
              <a:buNone/>
              <a:defRPr sz="2000" b="1"/>
            </a:lvl1pPr>
            <a:lvl2pPr marL="324006" indent="0">
              <a:buNone/>
              <a:defRPr sz="1500"/>
            </a:lvl2pPr>
            <a:lvl3pPr marL="648013" indent="0">
              <a:buNone/>
              <a:defRPr sz="1500"/>
            </a:lvl3pPr>
            <a:lvl4pPr marL="972019" indent="0">
              <a:buNone/>
              <a:defRPr sz="1500"/>
            </a:lvl4pPr>
            <a:lvl5pPr marL="1296025" indent="0">
              <a:buNone/>
              <a:defRPr sz="1500"/>
            </a:lvl5pPr>
            <a:lvl6pPr>
              <a:defRPr sz="1134"/>
            </a:lvl6pPr>
            <a:lvl7pPr>
              <a:defRPr sz="1134"/>
            </a:lvl7pPr>
            <a:lvl8pPr>
              <a:defRPr sz="1134"/>
            </a:lvl8pPr>
            <a:lvl9pPr>
              <a:defRPr sz="1134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479423" y="6061579"/>
            <a:ext cx="11233151" cy="175709"/>
          </a:xfrm>
        </p:spPr>
        <p:txBody>
          <a:bodyPr/>
          <a:lstStyle>
            <a:lvl1pPr marL="0" indent="0" algn="r">
              <a:buNone/>
              <a:defRPr sz="9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ontent source</a:t>
            </a:r>
          </a:p>
        </p:txBody>
      </p:sp>
    </p:spTree>
    <p:extLst>
      <p:ext uri="{BB962C8B-B14F-4D97-AF65-F5344CB8AC3E}">
        <p14:creationId xmlns:p14="http://schemas.microsoft.com/office/powerpoint/2010/main" val="256972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2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AD50E8-21C1-42BD-8ECA-7BE389DB7389}" type="datetime1">
              <a:rPr lang="de-DE" smtClean="0"/>
              <a:t>24.04.22</a:t>
            </a:fld>
            <a:endParaRPr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lide </a:t>
            </a:r>
            <a:fld id="{3B04BC8F-45B3-45BF-A9B7-8A27B0C636DB}" type="slidenum">
              <a:rPr smtClean="0"/>
              <a:pPr/>
              <a:t>‹N°›</a:t>
            </a:fld>
            <a:endParaRPr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4"/>
          </p:nvPr>
        </p:nvSpPr>
        <p:spPr>
          <a:xfrm>
            <a:off x="479425" y="1620870"/>
            <a:ext cx="5543999" cy="440464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5"/>
          </p:nvPr>
        </p:nvSpPr>
        <p:spPr>
          <a:xfrm>
            <a:off x="6167438" y="1620870"/>
            <a:ext cx="5544000" cy="440464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6" hasCustomPrompt="1"/>
          </p:nvPr>
        </p:nvSpPr>
        <p:spPr>
          <a:xfrm>
            <a:off x="480000" y="1138435"/>
            <a:ext cx="11232000" cy="360000"/>
          </a:xfrm>
        </p:spPr>
        <p:txBody>
          <a:bodyPr/>
          <a:lstStyle>
            <a:lvl1pPr marL="0" indent="0">
              <a:buNone/>
              <a:defRPr sz="2000" b="1"/>
            </a:lvl1pPr>
            <a:lvl2pPr marL="324006" indent="0">
              <a:buNone/>
              <a:defRPr sz="1500"/>
            </a:lvl2pPr>
            <a:lvl3pPr marL="648013" indent="0">
              <a:buNone/>
              <a:defRPr sz="1500"/>
            </a:lvl3pPr>
            <a:lvl4pPr marL="972019" indent="0">
              <a:buNone/>
              <a:defRPr sz="1500"/>
            </a:lvl4pPr>
            <a:lvl5pPr marL="1296025" indent="0">
              <a:buNone/>
              <a:defRPr sz="1500"/>
            </a:lvl5pPr>
            <a:lvl6pPr>
              <a:defRPr sz="1134"/>
            </a:lvl6pPr>
            <a:lvl7pPr>
              <a:defRPr sz="1134"/>
            </a:lvl7pPr>
            <a:lvl8pPr>
              <a:defRPr sz="1134"/>
            </a:lvl8pPr>
            <a:lvl9pPr>
              <a:defRPr sz="1134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6056163"/>
            <a:ext cx="5544000" cy="181125"/>
          </a:xfrm>
        </p:spPr>
        <p:txBody>
          <a:bodyPr/>
          <a:lstStyle>
            <a:lvl1pPr marL="0" indent="0" algn="r">
              <a:buNone/>
              <a:defRPr sz="9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ontent source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479423" y="6056163"/>
            <a:ext cx="5544000" cy="181125"/>
          </a:xfrm>
        </p:spPr>
        <p:txBody>
          <a:bodyPr/>
          <a:lstStyle>
            <a:lvl1pPr marL="0" indent="0" algn="r">
              <a:buNone/>
              <a:defRPr sz="9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ontent source</a:t>
            </a:r>
          </a:p>
        </p:txBody>
      </p:sp>
    </p:spTree>
    <p:extLst>
      <p:ext uri="{BB962C8B-B14F-4D97-AF65-F5344CB8AC3E}">
        <p14:creationId xmlns:p14="http://schemas.microsoft.com/office/powerpoint/2010/main" val="19440309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lden ratio 1, 2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8EB4F0-0B99-45DE-BFA4-89550E2C1F14}" type="datetime1">
              <a:rPr lang="de-DE" smtClean="0"/>
              <a:t>24.04.22</a:t>
            </a:fld>
            <a:endParaRPr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lide </a:t>
            </a:r>
            <a:fld id="{3B04BC8F-45B3-45BF-A9B7-8A27B0C636DB}" type="slidenum">
              <a:rPr smtClean="0"/>
              <a:pPr/>
              <a:t>‹N°›</a:t>
            </a:fld>
            <a:endParaRPr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480001" y="1620870"/>
            <a:ext cx="6948000" cy="441226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Inhaltsplatzhalter 8"/>
          <p:cNvSpPr>
            <a:spLocks noGrp="1"/>
          </p:cNvSpPr>
          <p:nvPr>
            <p:ph sz="quarter" idx="14"/>
          </p:nvPr>
        </p:nvSpPr>
        <p:spPr>
          <a:xfrm>
            <a:off x="7554531" y="1620870"/>
            <a:ext cx="4140000" cy="441226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5" hasCustomPrompt="1"/>
          </p:nvPr>
        </p:nvSpPr>
        <p:spPr>
          <a:xfrm>
            <a:off x="480000" y="1138435"/>
            <a:ext cx="11232000" cy="360000"/>
          </a:xfrm>
        </p:spPr>
        <p:txBody>
          <a:bodyPr/>
          <a:lstStyle>
            <a:lvl1pPr marL="0" indent="0">
              <a:buNone/>
              <a:defRPr sz="2000" b="1"/>
            </a:lvl1pPr>
            <a:lvl2pPr marL="324006" indent="0">
              <a:buNone/>
              <a:defRPr sz="1500"/>
            </a:lvl2pPr>
            <a:lvl3pPr marL="648013" indent="0">
              <a:buNone/>
              <a:defRPr sz="1500"/>
            </a:lvl3pPr>
            <a:lvl4pPr marL="972019" indent="0">
              <a:buNone/>
              <a:defRPr sz="1500"/>
            </a:lvl4pPr>
            <a:lvl5pPr marL="1296025" indent="0">
              <a:buNone/>
              <a:defRPr sz="1500"/>
            </a:lvl5pPr>
            <a:lvl6pPr>
              <a:defRPr sz="1134"/>
            </a:lvl6pPr>
            <a:lvl7pPr>
              <a:defRPr sz="1134"/>
            </a:lvl7pPr>
            <a:lvl8pPr>
              <a:defRPr sz="1134"/>
            </a:lvl8pPr>
            <a:lvl9pPr>
              <a:defRPr sz="1134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7554531" y="6056163"/>
            <a:ext cx="4140000" cy="181125"/>
          </a:xfrm>
        </p:spPr>
        <p:txBody>
          <a:bodyPr/>
          <a:lstStyle>
            <a:lvl1pPr marL="0" indent="0" algn="r">
              <a:buNone/>
              <a:defRPr sz="9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ontent sourc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479423" y="6056163"/>
            <a:ext cx="6948577" cy="181125"/>
          </a:xfrm>
        </p:spPr>
        <p:txBody>
          <a:bodyPr/>
          <a:lstStyle>
            <a:lvl1pPr marL="0" indent="0" algn="r">
              <a:buNone/>
              <a:defRPr sz="9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ontent source</a:t>
            </a:r>
          </a:p>
        </p:txBody>
      </p:sp>
    </p:spTree>
    <p:extLst>
      <p:ext uri="{BB962C8B-B14F-4D97-AF65-F5344CB8AC3E}">
        <p14:creationId xmlns:p14="http://schemas.microsoft.com/office/powerpoint/2010/main" val="63920381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lden ratio 2, 2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3247B3-2955-405D-996D-6F5EE8828B80}" type="datetime1">
              <a:rPr lang="de-DE" smtClean="0"/>
              <a:t>24.04.22</a:t>
            </a:fld>
            <a:endParaRPr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lide </a:t>
            </a:r>
            <a:fld id="{3B04BC8F-45B3-45BF-A9B7-8A27B0C636DB}" type="slidenum">
              <a:rPr smtClean="0"/>
              <a:pPr/>
              <a:t>‹N°›</a:t>
            </a:fld>
            <a:endParaRPr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480000" y="1620870"/>
            <a:ext cx="4140001" cy="440464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Inhaltsplatzhalter 8"/>
          <p:cNvSpPr>
            <a:spLocks noGrp="1"/>
          </p:cNvSpPr>
          <p:nvPr>
            <p:ph sz="quarter" idx="14"/>
          </p:nvPr>
        </p:nvSpPr>
        <p:spPr>
          <a:xfrm>
            <a:off x="4764575" y="1620870"/>
            <a:ext cx="6948000" cy="440464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5" hasCustomPrompt="1"/>
          </p:nvPr>
        </p:nvSpPr>
        <p:spPr>
          <a:xfrm>
            <a:off x="480000" y="1138435"/>
            <a:ext cx="11232000" cy="360000"/>
          </a:xfrm>
        </p:spPr>
        <p:txBody>
          <a:bodyPr/>
          <a:lstStyle>
            <a:lvl1pPr marL="0" indent="0">
              <a:buNone/>
              <a:defRPr sz="2000" b="1"/>
            </a:lvl1pPr>
            <a:lvl2pPr marL="324006" indent="0">
              <a:buNone/>
              <a:defRPr sz="1500"/>
            </a:lvl2pPr>
            <a:lvl3pPr marL="648013" indent="0">
              <a:buNone/>
              <a:defRPr sz="1500"/>
            </a:lvl3pPr>
            <a:lvl4pPr marL="972019" indent="0">
              <a:buNone/>
              <a:defRPr sz="1500"/>
            </a:lvl4pPr>
            <a:lvl5pPr marL="1296025" indent="0">
              <a:buNone/>
              <a:defRPr sz="1500"/>
            </a:lvl5pPr>
            <a:lvl6pPr>
              <a:defRPr sz="1134"/>
            </a:lvl6pPr>
            <a:lvl7pPr>
              <a:defRPr sz="1134"/>
            </a:lvl7pPr>
            <a:lvl8pPr>
              <a:defRPr sz="1134"/>
            </a:lvl8pPr>
            <a:lvl9pPr>
              <a:defRPr sz="1134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479424" y="6047789"/>
            <a:ext cx="4140578" cy="181125"/>
          </a:xfrm>
        </p:spPr>
        <p:txBody>
          <a:bodyPr/>
          <a:lstStyle>
            <a:lvl1pPr marL="0" indent="0" algn="r">
              <a:buNone/>
              <a:defRPr sz="9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ontent sourc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4764575" y="6047789"/>
            <a:ext cx="6948577" cy="181125"/>
          </a:xfrm>
        </p:spPr>
        <p:txBody>
          <a:bodyPr/>
          <a:lstStyle>
            <a:lvl1pPr marL="0" indent="0" algn="r">
              <a:buNone/>
              <a:defRPr sz="9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ontent source</a:t>
            </a:r>
          </a:p>
        </p:txBody>
      </p:sp>
    </p:spTree>
    <p:extLst>
      <p:ext uri="{BB962C8B-B14F-4D97-AF65-F5344CB8AC3E}">
        <p14:creationId xmlns:p14="http://schemas.microsoft.com/office/powerpoint/2010/main" val="21297700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, 2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3EBDDE-DFB6-4C65-B615-CDB877E6E891}" type="datetime1">
              <a:rPr lang="de-DE" smtClean="0"/>
              <a:t>24.04.22</a:t>
            </a:fld>
            <a:endParaRPr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lide </a:t>
            </a:r>
            <a:fld id="{3B04BC8F-45B3-45BF-A9B7-8A27B0C636DB}" type="slidenum">
              <a:rPr smtClean="0"/>
              <a:pPr/>
              <a:t>‹N°›</a:t>
            </a:fld>
            <a:endParaRPr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480001" y="1620870"/>
            <a:ext cx="3636000" cy="44103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Inhaltsplatzhalter 8"/>
          <p:cNvSpPr>
            <a:spLocks noGrp="1"/>
          </p:cNvSpPr>
          <p:nvPr>
            <p:ph sz="quarter" idx="14"/>
          </p:nvPr>
        </p:nvSpPr>
        <p:spPr>
          <a:xfrm>
            <a:off x="8076575" y="1620870"/>
            <a:ext cx="3636000" cy="44103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Inhaltsplatzhalter 8"/>
          <p:cNvSpPr>
            <a:spLocks noGrp="1"/>
          </p:cNvSpPr>
          <p:nvPr>
            <p:ph sz="quarter" idx="15"/>
          </p:nvPr>
        </p:nvSpPr>
        <p:spPr>
          <a:xfrm>
            <a:off x="4278001" y="1620870"/>
            <a:ext cx="3636000" cy="44103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Inhaltsplatzhalter 3"/>
          <p:cNvSpPr>
            <a:spLocks noGrp="1"/>
          </p:cNvSpPr>
          <p:nvPr>
            <p:ph sz="half" idx="16" hasCustomPrompt="1"/>
          </p:nvPr>
        </p:nvSpPr>
        <p:spPr>
          <a:xfrm>
            <a:off x="480000" y="1138435"/>
            <a:ext cx="11232000" cy="360000"/>
          </a:xfrm>
        </p:spPr>
        <p:txBody>
          <a:bodyPr/>
          <a:lstStyle>
            <a:lvl1pPr marL="0" indent="0">
              <a:buNone/>
              <a:defRPr sz="2000" b="1"/>
            </a:lvl1pPr>
            <a:lvl2pPr marL="324006" indent="0">
              <a:buNone/>
              <a:defRPr sz="1500"/>
            </a:lvl2pPr>
            <a:lvl3pPr marL="648013" indent="0">
              <a:buNone/>
              <a:defRPr sz="1500"/>
            </a:lvl3pPr>
            <a:lvl4pPr marL="972019" indent="0">
              <a:buNone/>
              <a:defRPr sz="1500"/>
            </a:lvl4pPr>
            <a:lvl5pPr marL="1296025" indent="0">
              <a:buNone/>
              <a:defRPr sz="1500"/>
            </a:lvl5pPr>
            <a:lvl6pPr>
              <a:defRPr sz="1134"/>
            </a:lvl6pPr>
            <a:lvl7pPr>
              <a:defRPr sz="1134"/>
            </a:lvl7pPr>
            <a:lvl8pPr>
              <a:defRPr sz="1134"/>
            </a:lvl8pPr>
            <a:lvl9pPr>
              <a:defRPr sz="1134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479418" y="6054290"/>
            <a:ext cx="3636004" cy="175710"/>
          </a:xfrm>
        </p:spPr>
        <p:txBody>
          <a:bodyPr/>
          <a:lstStyle>
            <a:lvl1pPr marL="0" indent="0" algn="r">
              <a:buNone/>
              <a:defRPr sz="9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onten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4277995" y="6054290"/>
            <a:ext cx="3636004" cy="175710"/>
          </a:xfrm>
        </p:spPr>
        <p:txBody>
          <a:bodyPr/>
          <a:lstStyle>
            <a:lvl1pPr marL="0" indent="0" algn="r">
              <a:buNone/>
              <a:defRPr sz="9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ontent source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8075996" y="6054290"/>
            <a:ext cx="3636004" cy="175710"/>
          </a:xfrm>
        </p:spPr>
        <p:txBody>
          <a:bodyPr/>
          <a:lstStyle>
            <a:lvl1pPr marL="0" indent="0" algn="r">
              <a:buNone/>
              <a:defRPr sz="9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ontent source</a:t>
            </a:r>
          </a:p>
        </p:txBody>
      </p:sp>
    </p:spTree>
    <p:extLst>
      <p:ext uri="{BB962C8B-B14F-4D97-AF65-F5344CB8AC3E}">
        <p14:creationId xmlns:p14="http://schemas.microsoft.com/office/powerpoint/2010/main" val="27600813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6EF17E-8B34-4247-B7C6-175FB7006B61}" type="datetime1">
              <a:rPr lang="de-DE" smtClean="0"/>
              <a:t>24.04.22</a:t>
            </a:fld>
            <a:endParaRPr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lide </a:t>
            </a:r>
            <a:fld id="{3B04BC8F-45B3-45BF-A9B7-8A27B0C636DB}" type="slidenum">
              <a:rPr smtClean="0"/>
              <a:pPr/>
              <a:t>‹N°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9504608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3"/>
          <p:cNvSpPr>
            <a:spLocks noGrp="1"/>
          </p:cNvSpPr>
          <p:nvPr>
            <p:ph sz="half" idx="16" hasCustomPrompt="1"/>
          </p:nvPr>
        </p:nvSpPr>
        <p:spPr>
          <a:xfrm>
            <a:off x="479425" y="3404600"/>
            <a:ext cx="7561064" cy="283268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800" b="0"/>
            </a:lvl1pPr>
            <a:lvl2pPr marL="324006" indent="0">
              <a:buNone/>
              <a:defRPr sz="1500"/>
            </a:lvl2pPr>
            <a:lvl3pPr marL="648013" indent="0">
              <a:buNone/>
              <a:defRPr sz="1500"/>
            </a:lvl3pPr>
            <a:lvl4pPr marL="972019" indent="0">
              <a:buNone/>
              <a:defRPr sz="1500"/>
            </a:lvl4pPr>
            <a:lvl5pPr marL="1296025" indent="0">
              <a:buNone/>
              <a:defRPr sz="1500"/>
            </a:lvl5pPr>
            <a:lvl6pPr>
              <a:defRPr sz="1134"/>
            </a:lvl6pPr>
            <a:lvl7pPr>
              <a:defRPr sz="1134"/>
            </a:lvl7pPr>
            <a:lvl8pPr>
              <a:defRPr sz="1134"/>
            </a:lvl8pPr>
            <a:lvl9pPr>
              <a:defRPr sz="1134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0" name="Bildplatzhalter 2"/>
          <p:cNvSpPr>
            <a:spLocks noGrp="1"/>
          </p:cNvSpPr>
          <p:nvPr>
            <p:ph type="pic" sz="quarter" idx="17"/>
          </p:nvPr>
        </p:nvSpPr>
        <p:spPr>
          <a:xfrm>
            <a:off x="479425" y="1125538"/>
            <a:ext cx="1548000" cy="216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82642" y="2426057"/>
            <a:ext cx="8370414" cy="859481"/>
          </a:xfrm>
        </p:spPr>
        <p:txBody>
          <a:bodyPr/>
          <a:lstStyle>
            <a:lvl1pPr algn="ctr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12246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62D94F76-218E-49F2-87F8-05982912ED18}"/>
              </a:ext>
            </a:extLst>
          </p:cNvPr>
          <p:cNvSpPr/>
          <p:nvPr userDrawn="1"/>
        </p:nvSpPr>
        <p:spPr>
          <a:xfrm>
            <a:off x="731838" y="1016000"/>
            <a:ext cx="10728325" cy="5257800"/>
          </a:xfrm>
          <a:prstGeom prst="rect">
            <a:avLst/>
          </a:prstGeom>
          <a:solidFill>
            <a:srgbClr val="485A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491294E-BEE7-4DA8-BBC8-88E1A7B07A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" y="1940405"/>
            <a:ext cx="10188000" cy="3420000"/>
          </a:xfrm>
          <a:solidFill>
            <a:srgbClr val="72791C"/>
          </a:solidFill>
          <a:ln>
            <a:noFill/>
          </a:ln>
        </p:spPr>
        <p:txBody>
          <a:bodyPr lIns="1080000" tIns="252000" anchor="t" anchorCtr="0"/>
          <a:lstStyle>
            <a:lvl1pPr algn="l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de-CH" noProof="0"/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0503E57F-F89F-431B-8D38-7CC97B7C20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78516" y="4217884"/>
            <a:ext cx="8640000" cy="1008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26670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2pPr>
            <a:lvl3pPr marL="538163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3pPr>
            <a:lvl4pPr marL="804862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4pPr>
            <a:lvl5pPr marL="1076325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Bildplatzhalter 8">
            <a:extLst>
              <a:ext uri="{FF2B5EF4-FFF2-40B4-BE49-F238E27FC236}">
                <a16:creationId xmlns:a16="http://schemas.microsoft.com/office/drawing/2014/main" id="{1BEB6197-C509-4752-B57E-CEE955F5D92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200163" y="6489088"/>
            <a:ext cx="1260000" cy="180000"/>
          </a:xfrm>
        </p:spPr>
        <p:txBody>
          <a:bodyPr/>
          <a:lstStyle>
            <a:lvl1pPr marL="0" indent="0" algn="l">
              <a:buNone/>
              <a:defRPr sz="700"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700EDC9F-CB14-436A-BA70-108AC9FC353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8" y="360538"/>
            <a:ext cx="1761709" cy="287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70824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640">
          <p15:clr>
            <a:srgbClr val="FBAE40"/>
          </p15:clr>
        </p15:guide>
        <p15:guide id="4" orient="horz" pos="395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491294E-BEE7-4DA8-BBC8-88E1A7B07A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1837" y="1016000"/>
            <a:ext cx="10728326" cy="5256000"/>
          </a:xfrm>
          <a:solidFill>
            <a:schemeClr val="accent2"/>
          </a:solidFill>
          <a:ln>
            <a:noFill/>
          </a:ln>
        </p:spPr>
        <p:txBody>
          <a:bodyPr lIns="324000" tIns="1152000" anchor="t" anchorCtr="0"/>
          <a:lstStyle>
            <a:lvl1pPr algn="l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de-CH" noProof="0"/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5FCAD79B-EF47-46A0-9575-229F3DAA72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78515" y="5122625"/>
            <a:ext cx="10044000" cy="1008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26670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2pPr>
            <a:lvl3pPr marL="538163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3pPr>
            <a:lvl4pPr marL="804862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4pPr>
            <a:lvl5pPr marL="1076325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Bildplatzhalter 8">
            <a:extLst>
              <a:ext uri="{FF2B5EF4-FFF2-40B4-BE49-F238E27FC236}">
                <a16:creationId xmlns:a16="http://schemas.microsoft.com/office/drawing/2014/main" id="{72236FC6-C8FF-43C1-86B9-BF112345926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200163" y="6489088"/>
            <a:ext cx="1260000" cy="180000"/>
          </a:xfrm>
        </p:spPr>
        <p:txBody>
          <a:bodyPr/>
          <a:lstStyle>
            <a:lvl1pPr marL="0" indent="0" algn="l">
              <a:buNone/>
              <a:defRPr sz="700"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4C35605B-33CE-4F8A-93E6-080CF6DB63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8" y="360538"/>
            <a:ext cx="1761709" cy="287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55676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640">
          <p15:clr>
            <a:srgbClr val="FBAE40"/>
          </p15:clr>
        </p15:guide>
        <p15:guide id="4" orient="horz" pos="395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5 – Uni Zür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EB061823-3F7A-48C8-8477-B410C18AC1B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31838" y="1016000"/>
            <a:ext cx="10728325" cy="5256000"/>
          </a:xfrm>
        </p:spPr>
        <p:txBody>
          <a:bodyPr lIns="5580000" tIns="0" rIns="0" anchor="ctr" anchorCtr="0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491294E-BEE7-4DA8-BBC8-88E1A7B07A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3538"/>
            <a:ext cx="5904000" cy="2772000"/>
          </a:xfrm>
          <a:solidFill>
            <a:srgbClr val="007A96"/>
          </a:solidFill>
        </p:spPr>
        <p:txBody>
          <a:bodyPr lIns="1080000" tIns="252000" anchor="t" anchorCtr="0"/>
          <a:lstStyle>
            <a:lvl1pPr algn="l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de-CH" noProof="0"/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D364BCB8-820F-4C3A-BA37-7048A4C8D4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78516" y="3860495"/>
            <a:ext cx="4680000" cy="1008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26670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2pPr>
            <a:lvl3pPr marL="538163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3pPr>
            <a:lvl4pPr marL="804862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4pPr>
            <a:lvl5pPr marL="1076325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Bildplatzhalter 8">
            <a:extLst>
              <a:ext uri="{FF2B5EF4-FFF2-40B4-BE49-F238E27FC236}">
                <a16:creationId xmlns:a16="http://schemas.microsoft.com/office/drawing/2014/main" id="{A73913C2-8DFE-4F15-B2DB-2A6D5C26700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200163" y="6489088"/>
            <a:ext cx="1260000" cy="180000"/>
          </a:xfrm>
        </p:spPr>
        <p:txBody>
          <a:bodyPr/>
          <a:lstStyle>
            <a:lvl1pPr marL="0" indent="0" algn="l">
              <a:buNone/>
              <a:defRPr sz="700"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902BE80F-06DA-4784-BF95-EC97341C2D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8" y="360538"/>
            <a:ext cx="1761709" cy="287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19654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640">
          <p15:clr>
            <a:srgbClr val="FBAE40"/>
          </p15:clr>
        </p15:guide>
        <p15:guide id="4" orient="horz" pos="3952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DBE6023F-CDEC-4F79-963F-6000B12B12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7" y="6508502"/>
            <a:ext cx="984461" cy="1605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346F7F9-CBC8-4641-B12B-7E76FD213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de-CH" noProof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D3E2EF-5F98-49EC-BCEA-B215D49920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DB21BA-81C0-43DB-A42C-5F672DBC3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C6509E-24F7-4785-A971-7E8F1D82B365}" type="datetime1">
              <a:rPr lang="de-DE" noProof="0" smtClean="0"/>
              <a:t>24.04.22</a:t>
            </a:fld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C78786-28C3-4EAB-A3FC-1A4BFA844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r">
              <a:defRPr/>
            </a:lvl1pPr>
          </a:lstStyle>
          <a:p>
            <a:r>
              <a:rPr lang="en-US"/>
              <a:t>Footer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C1D5C1-A4AD-42D4-93B7-D3B71140E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CH" dirty="0"/>
              <a:t>Slide </a:t>
            </a:r>
            <a:fld id="{5ACA52AF-F19D-405C-AD5F-7D94B96A5CC3}" type="slidenum">
              <a:rPr lang="de-CH" smtClean="0"/>
              <a:pPr/>
              <a:t>‹N°›</a:t>
            </a:fld>
            <a:endParaRPr lang="de-CH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731837" y="6114342"/>
            <a:ext cx="10728325" cy="181125"/>
          </a:xfrm>
        </p:spPr>
        <p:txBody>
          <a:bodyPr/>
          <a:lstStyle>
            <a:lvl1pPr marL="0" indent="0" algn="r">
              <a:buNone/>
              <a:defRPr sz="9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ontent source</a:t>
            </a:r>
          </a:p>
        </p:txBody>
      </p:sp>
    </p:spTree>
    <p:extLst>
      <p:ext uri="{BB962C8B-B14F-4D97-AF65-F5344CB8AC3E}">
        <p14:creationId xmlns:p14="http://schemas.microsoft.com/office/powerpoint/2010/main" val="35480234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46F7F9-CBC8-4641-B12B-7E76FD213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de-CH" noProof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D3E2EF-5F98-49EC-BCEA-B215D49920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836" y="1412875"/>
            <a:ext cx="5220000" cy="4680000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DB21BA-81C0-43DB-A42C-5F672DBC3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9AB306-3C9A-4508-8BB4-B8123CBB4E8A}" type="datetime1">
              <a:rPr lang="de-DE" noProof="0" smtClean="0"/>
              <a:t>24.04.22</a:t>
            </a:fld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C78786-28C3-4EAB-A3FC-1A4BFA844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r">
              <a:defRPr/>
            </a:lvl1pPr>
          </a:lstStyle>
          <a:p>
            <a:r>
              <a:rPr lang="en-US"/>
              <a:t>Footer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C1D5C1-A4AD-42D4-93B7-D3B71140E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CH" dirty="0"/>
              <a:t>Slide </a:t>
            </a:r>
            <a:fld id="{5ACA52AF-F19D-405C-AD5F-7D94B96A5CC3}" type="slidenum">
              <a:rPr lang="de-CH" noProof="0" smtClean="0"/>
              <a:t>‹N°›</a:t>
            </a:fld>
            <a:endParaRPr lang="de-CH" noProof="0" dirty="0"/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87D3E2EF-5F98-49EC-BCEA-B215D49920A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40162" y="1407764"/>
            <a:ext cx="5220000" cy="4680000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240162" y="6114342"/>
            <a:ext cx="5220000" cy="181125"/>
          </a:xfrm>
        </p:spPr>
        <p:txBody>
          <a:bodyPr/>
          <a:lstStyle>
            <a:lvl1pPr marL="0" indent="0" algn="r">
              <a:buNone/>
              <a:defRPr sz="9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ontent sourc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31837" y="6118856"/>
            <a:ext cx="5220000" cy="181125"/>
          </a:xfrm>
        </p:spPr>
        <p:txBody>
          <a:bodyPr/>
          <a:lstStyle>
            <a:lvl1pPr marL="0" indent="0" algn="r">
              <a:buNone/>
              <a:defRPr sz="9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ontent sourc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CD0C139-1409-4877-88A6-6590EC17EC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7" y="6508502"/>
            <a:ext cx="984461" cy="160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71297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46F7F9-CBC8-4641-B12B-7E76FD213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de-CH" noProof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D3E2EF-5F98-49EC-BCEA-B215D49920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04163" y="1412875"/>
            <a:ext cx="5256000" cy="4662805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DB21BA-81C0-43DB-A42C-5F672DBC3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723AC9-9264-4BF5-8DFA-03C810CDA80F}" type="datetime1">
              <a:rPr lang="de-DE" noProof="0" smtClean="0"/>
              <a:t>24.04.22</a:t>
            </a:fld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C78786-28C3-4EAB-A3FC-1A4BFA844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C1D5C1-A4AD-42D4-93B7-D3B71140E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CH" dirty="0"/>
              <a:t>Slide </a:t>
            </a:r>
            <a:fld id="{5ACA52AF-F19D-405C-AD5F-7D94B96A5CC3}" type="slidenum">
              <a:rPr lang="de-CH" noProof="0" smtClean="0"/>
              <a:t>‹N°›</a:t>
            </a:fld>
            <a:endParaRPr lang="de-CH" noProof="0" dirty="0"/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221A3BAE-B19D-4390-B4A5-2C8A2CC87C5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1838" y="1412875"/>
            <a:ext cx="5040000" cy="4662805"/>
          </a:xfrm>
        </p:spPr>
        <p:txBody>
          <a:bodyPr tIns="1620000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204163" y="6114342"/>
            <a:ext cx="5255999" cy="181125"/>
          </a:xfrm>
        </p:spPr>
        <p:txBody>
          <a:bodyPr/>
          <a:lstStyle>
            <a:lvl1pPr marL="0" indent="0" algn="r">
              <a:buNone/>
              <a:defRPr sz="9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ontent sourc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31837" y="6118856"/>
            <a:ext cx="5040001" cy="181125"/>
          </a:xfrm>
        </p:spPr>
        <p:txBody>
          <a:bodyPr/>
          <a:lstStyle>
            <a:lvl1pPr marL="0" indent="0" algn="r">
              <a:buNone/>
              <a:defRPr sz="9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ontent sourc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3D32F51D-D7E3-466E-8896-D42A7AE931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7" y="6508502"/>
            <a:ext cx="984461" cy="160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6488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46F7F9-CBC8-4641-B12B-7E76FD213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de-CH" noProof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D3E2EF-5F98-49EC-BCEA-B215D49920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836" y="5121800"/>
            <a:ext cx="5255999" cy="1152000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DB21BA-81C0-43DB-A42C-5F672DBC3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A2E57-320F-4DB6-AD59-954A10E91053}" type="datetime1">
              <a:rPr lang="de-DE" noProof="0" smtClean="0"/>
              <a:t>24.04.22</a:t>
            </a:fld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C78786-28C3-4EAB-A3FC-1A4BFA844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Footer</a:t>
            </a:r>
            <a:endParaRPr lang="de-CH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C1D5C1-A4AD-42D4-93B7-D3B71140E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CH" dirty="0"/>
              <a:t>Slide </a:t>
            </a:r>
            <a:fld id="{5ACA52AF-F19D-405C-AD5F-7D94B96A5CC3}" type="slidenum">
              <a:rPr lang="de-CH" noProof="0" smtClean="0"/>
              <a:t>‹N°›</a:t>
            </a:fld>
            <a:endParaRPr lang="de-CH" noProof="0" dirty="0"/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221A3BAE-B19D-4390-B4A5-2C8A2CC87C5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1838" y="1412875"/>
            <a:ext cx="5256000" cy="3420000"/>
          </a:xfrm>
        </p:spPr>
        <p:txBody>
          <a:bodyPr tIns="900000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sp>
        <p:nvSpPr>
          <p:cNvPr id="9" name="Bildplatzhalter 10">
            <a:extLst>
              <a:ext uri="{FF2B5EF4-FFF2-40B4-BE49-F238E27FC236}">
                <a16:creationId xmlns:a16="http://schemas.microsoft.com/office/drawing/2014/main" id="{1AAB6914-2518-430D-BF4C-14EA51B614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04162" y="1412875"/>
            <a:ext cx="5256000" cy="3420000"/>
          </a:xfrm>
        </p:spPr>
        <p:txBody>
          <a:bodyPr tIns="900000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5092EEFB-079B-4C38-A665-E52B9837601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04162" y="5121800"/>
            <a:ext cx="5256001" cy="1152000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6204162" y="4862058"/>
            <a:ext cx="5256001" cy="181125"/>
          </a:xfrm>
        </p:spPr>
        <p:txBody>
          <a:bodyPr/>
          <a:lstStyle>
            <a:lvl1pPr marL="0" indent="0" algn="r">
              <a:buNone/>
              <a:defRPr sz="9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ontent source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731834" y="4862058"/>
            <a:ext cx="5256001" cy="181125"/>
          </a:xfrm>
        </p:spPr>
        <p:txBody>
          <a:bodyPr/>
          <a:lstStyle>
            <a:lvl1pPr marL="0" indent="0" algn="r">
              <a:buNone/>
              <a:defRPr sz="9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ontent source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8F15A20E-D58B-480E-BFC2-6C89AB7E6D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7" y="6508502"/>
            <a:ext cx="984461" cy="160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75577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5.emf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9CEF804-E58C-481B-A606-7D35AF68FF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7" y="260351"/>
            <a:ext cx="9517419" cy="90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CH" noProof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5C6EC0D-393C-42F2-B6A7-B19C9B098F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1837" y="1412875"/>
            <a:ext cx="10728325" cy="468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Mastertext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7C96E51-36C9-4BEE-A761-33378A0DF03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64069" y="6498060"/>
            <a:ext cx="612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40515011-EC61-44E7-A956-83519368517C}" type="datetime1">
              <a:rPr lang="de-DE" smtClean="0"/>
              <a:t>24.04.22</a:t>
            </a:fld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11EC403-6E63-4450-AFDD-66CA49D6CC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71700" y="6498060"/>
            <a:ext cx="5400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Footer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FDFCC57-7DDC-4B2C-A6BE-862DAF9C9F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68439" y="6498060"/>
            <a:ext cx="391723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CH" dirty="0"/>
              <a:t>Slide </a:t>
            </a:r>
            <a:fld id="{5ACA52AF-F19D-405C-AD5F-7D94B96A5CC3}" type="slidenum">
              <a:rPr lang="de-CH" smtClean="0"/>
              <a:pPr/>
              <a:t>‹N°›</a:t>
            </a:fld>
            <a:endParaRPr lang="de-CH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406" t="23757" r="6296" b="24576"/>
          <a:stretch/>
        </p:blipFill>
        <p:spPr>
          <a:xfrm>
            <a:off x="9959021" y="386112"/>
            <a:ext cx="1501141" cy="236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47032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3" r:id="rId6"/>
    <p:sldLayoutId id="2147483753" r:id="rId7"/>
    <p:sldLayoutId id="2147483748" r:id="rId8"/>
    <p:sldLayoutId id="2147483749" r:id="rId9"/>
    <p:sldLayoutId id="2147483750" r:id="rId10"/>
    <p:sldLayoutId id="2147483752" r:id="rId11"/>
    <p:sldLayoutId id="2147483745" r:id="rId12"/>
    <p:sldLayoutId id="2147483754" r:id="rId13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71463" algn="l" defTabSz="914400" rtl="0" eaLnBrk="1" latinLnBrk="0" hangingPunct="1">
        <a:lnSpc>
          <a:spcPct val="100000"/>
        </a:lnSpc>
        <a:spcBef>
          <a:spcPts val="5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100000"/>
        </a:lnSpc>
        <a:spcBef>
          <a:spcPts val="5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271463" algn="l" defTabSz="914400" rtl="0" eaLnBrk="1" latinLnBrk="0" hangingPunct="1">
        <a:lnSpc>
          <a:spcPct val="100000"/>
        </a:lnSpc>
        <a:spcBef>
          <a:spcPts val="5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50000" indent="-270000" algn="l" defTabSz="914400" rtl="0" eaLnBrk="1" latinLnBrk="0" hangingPunct="1">
        <a:lnSpc>
          <a:spcPct val="100000"/>
        </a:lnSpc>
        <a:spcBef>
          <a:spcPts val="5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461">
          <p15:clr>
            <a:srgbClr val="F26B43"/>
          </p15:clr>
        </p15:guide>
        <p15:guide id="3" pos="7219">
          <p15:clr>
            <a:srgbClr val="F26B43"/>
          </p15:clr>
        </p15:guide>
        <p15:guide id="4" orient="horz" pos="164">
          <p15:clr>
            <a:srgbClr val="F26B43"/>
          </p15:clr>
        </p15:guide>
        <p15:guide id="5" orient="horz" pos="890">
          <p15:clr>
            <a:srgbClr val="F26B43"/>
          </p15:clr>
        </p15:guide>
        <p15:guide id="6" orient="horz" pos="4201">
          <p15:clr>
            <a:srgbClr val="F26B43"/>
          </p15:clr>
        </p15:guide>
        <p15:guide id="7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06316" y="2281187"/>
            <a:ext cx="8200784" cy="35977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altLang="en-US" dirty="0"/>
              <a:t>Textmasterformate durch Klicken bearbeiten</a:t>
            </a:r>
          </a:p>
          <a:p>
            <a:pPr lvl="1"/>
            <a:r>
              <a:rPr lang="de-CH" altLang="en-US" dirty="0"/>
              <a:t>Zweite Ebene</a:t>
            </a:r>
          </a:p>
          <a:p>
            <a:pPr lvl="2"/>
            <a:r>
              <a:rPr lang="de-CH" altLang="en-US" dirty="0"/>
              <a:t>Dritte Ebene</a:t>
            </a:r>
          </a:p>
          <a:p>
            <a:pPr lvl="3"/>
            <a:r>
              <a:rPr lang="de-CH" altLang="en-US" dirty="0"/>
              <a:t>Vierte Ebene</a:t>
            </a:r>
          </a:p>
          <a:p>
            <a:pPr lvl="4"/>
            <a:r>
              <a:rPr lang="de-CH" altLang="en-US" dirty="0"/>
              <a:t>Fünfte Ebene</a:t>
            </a:r>
          </a:p>
        </p:txBody>
      </p:sp>
      <p:sp>
        <p:nvSpPr>
          <p:cNvPr id="8" name="Titelplatzhalter 7"/>
          <p:cNvSpPr>
            <a:spLocks noGrp="1"/>
          </p:cNvSpPr>
          <p:nvPr>
            <p:ph type="title"/>
          </p:nvPr>
        </p:nvSpPr>
        <p:spPr>
          <a:xfrm>
            <a:off x="480000" y="270550"/>
            <a:ext cx="9562695" cy="74545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 dirty="0"/>
              <a:t>Titelmasterformat durch Klicken bearbeiten</a:t>
            </a:r>
            <a:endParaRPr lang="de-CH" dirty="0"/>
          </a:p>
        </p:txBody>
      </p:sp>
      <p:sp>
        <p:nvSpPr>
          <p:cNvPr id="5" name="Textfeld 4"/>
          <p:cNvSpPr txBox="1"/>
          <p:nvPr userDrawn="1"/>
        </p:nvSpPr>
        <p:spPr>
          <a:xfrm>
            <a:off x="10663647" y="6443744"/>
            <a:ext cx="104835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/>
            <a:r>
              <a:rPr lang="en-US" sz="800" kern="1200" noProof="0" dirty="0">
                <a:solidFill>
                  <a:srgbClr val="999999"/>
                </a:solidFill>
                <a:latin typeface="Arial" panose="020B0604020202020204" pitchFamily="34" charset="0"/>
                <a:ea typeface="+mn-ea"/>
                <a:cs typeface="+mn-cs"/>
              </a:rPr>
              <a:t>Strategic Partner</a:t>
            </a:r>
            <a:endParaRPr lang="en-US" sz="800" noProof="0" dirty="0">
              <a:solidFill>
                <a:srgbClr val="999999"/>
              </a:solidFill>
            </a:endParaRPr>
          </a:p>
          <a:p>
            <a:pPr algn="r"/>
            <a:r>
              <a:rPr lang="en-US" sz="800" noProof="0" dirty="0">
                <a:solidFill>
                  <a:srgbClr val="999999"/>
                </a:solidFill>
              </a:rPr>
              <a:t>of ETH Zurich</a:t>
            </a: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2"/>
          </p:nvPr>
        </p:nvSpPr>
        <p:spPr>
          <a:xfrm>
            <a:off x="8702958" y="6566853"/>
            <a:ext cx="900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lvl1pPr algn="ctr">
              <a:defRPr lang="en-US" sz="800" smtClean="0">
                <a:solidFill>
                  <a:srgbClr val="999999"/>
                </a:solidFill>
              </a:defRPr>
            </a:lvl1pPr>
          </a:lstStyle>
          <a:p>
            <a:fld id="{B30A9BD0-2AC6-4785-B4C9-7F120A331011}" type="datetime1">
              <a:rPr lang="de-DE" smtClean="0"/>
              <a:t>24.04.22</a:t>
            </a:fld>
            <a:endParaRPr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3"/>
          </p:nvPr>
        </p:nvSpPr>
        <p:spPr>
          <a:xfrm>
            <a:off x="4545096" y="6566853"/>
            <a:ext cx="411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lvl1pPr algn="r">
              <a:defRPr lang="en-US" sz="800" dirty="0">
                <a:solidFill>
                  <a:srgbClr val="999999"/>
                </a:solidFill>
              </a:defRPr>
            </a:lvl1pPr>
          </a:lstStyle>
          <a:p>
            <a:r>
              <a:rPr lang="en-US"/>
              <a:t>Footer</a:t>
            </a:r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4"/>
          </p:nvPr>
        </p:nvSpPr>
        <p:spPr>
          <a:xfrm>
            <a:off x="9651359" y="6566853"/>
            <a:ext cx="720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lvl1pPr>
              <a:defRPr lang="en-US" sz="800" smtClean="0">
                <a:solidFill>
                  <a:srgbClr val="999999"/>
                </a:solidFill>
              </a:defRPr>
            </a:lvl1pPr>
          </a:lstStyle>
          <a:p>
            <a:r>
              <a:rPr lang="en-US" dirty="0"/>
              <a:t>Slide </a:t>
            </a:r>
            <a:fld id="{3B04BC8F-45B3-45BF-A9B7-8A27B0C636DB}" type="slidenum">
              <a:rPr smtClean="0"/>
              <a:pPr/>
              <a:t>‹N°›</a:t>
            </a:fld>
            <a:endParaRPr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3647" y="329196"/>
            <a:ext cx="1046554" cy="35744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406" t="23757" r="6296" b="24576"/>
          <a:stretch/>
        </p:blipFill>
        <p:spPr>
          <a:xfrm>
            <a:off x="480000" y="6425884"/>
            <a:ext cx="1501141" cy="236221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68" r:id="rId2"/>
    <p:sldLayoutId id="2147483655" r:id="rId3"/>
    <p:sldLayoutId id="2147483658" r:id="rId4"/>
    <p:sldLayoutId id="2147483659" r:id="rId5"/>
    <p:sldLayoutId id="2147483660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9" r:id="rId13"/>
    <p:sldLayoutId id="2147483670" r:id="rId14"/>
  </p:sldLayoutIdLst>
  <p:hf hdr="0"/>
  <p:txStyles>
    <p:titleStyle>
      <a:lvl1pPr algn="l" rtl="0" eaLnBrk="1" fontAlgn="base" hangingPunct="1">
        <a:lnSpc>
          <a:spcPct val="90000"/>
        </a:lnSpc>
        <a:spcBef>
          <a:spcPts val="600"/>
        </a:spcBef>
        <a:spcAft>
          <a:spcPts val="600"/>
        </a:spcAft>
        <a:defRPr sz="2400" b="1">
          <a:solidFill>
            <a:srgbClr val="999999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701" b="1">
          <a:solidFill>
            <a:schemeClr val="tx1"/>
          </a:solidFill>
          <a:latin typeface="Arial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701" b="1">
          <a:solidFill>
            <a:schemeClr val="tx1"/>
          </a:solidFill>
          <a:latin typeface="Arial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701" b="1">
          <a:solidFill>
            <a:schemeClr val="tx1"/>
          </a:solidFill>
          <a:latin typeface="Arial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701" b="1">
          <a:solidFill>
            <a:schemeClr val="tx1"/>
          </a:solidFill>
          <a:latin typeface="Arial" charset="0"/>
        </a:defRPr>
      </a:lvl5pPr>
      <a:lvl6pPr marL="324006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701" b="1">
          <a:solidFill>
            <a:schemeClr val="tx1"/>
          </a:solidFill>
          <a:latin typeface="Arial" charset="0"/>
        </a:defRPr>
      </a:lvl6pPr>
      <a:lvl7pPr marL="648013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701" b="1">
          <a:solidFill>
            <a:schemeClr val="tx1"/>
          </a:solidFill>
          <a:latin typeface="Arial" charset="0"/>
        </a:defRPr>
      </a:lvl7pPr>
      <a:lvl8pPr marL="972019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701" b="1">
          <a:solidFill>
            <a:schemeClr val="tx1"/>
          </a:solidFill>
          <a:latin typeface="Arial" charset="0"/>
        </a:defRPr>
      </a:lvl8pPr>
      <a:lvl9pPr marL="1296025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701" b="1">
          <a:solidFill>
            <a:schemeClr val="tx1"/>
          </a:solidFill>
          <a:latin typeface="Arial" charset="0"/>
        </a:defRPr>
      </a:lvl9pPr>
    </p:titleStyle>
    <p:bodyStyle>
      <a:lvl1pPr marL="243005" indent="-243005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SzPct val="130000"/>
        <a:buFont typeface="Wingdings" panose="05000000000000000000" pitchFamily="2" charset="2"/>
        <a:buChar char="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26510" indent="-202504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SzPct val="100000"/>
        <a:buFont typeface="Wingdings" panose="05000000000000000000" pitchFamily="2" charset="2"/>
        <a:buChar char="§"/>
        <a:defRPr sz="2000">
          <a:solidFill>
            <a:schemeClr val="tx1"/>
          </a:solidFill>
          <a:latin typeface="+mn-lt"/>
        </a:defRPr>
      </a:lvl2pPr>
      <a:lvl3pPr marL="714375" indent="-171450" algn="l" rtl="0" eaLnBrk="1" fontAlgn="base" hangingPunct="1">
        <a:spcBef>
          <a:spcPct val="20000"/>
        </a:spcBef>
        <a:spcAft>
          <a:spcPct val="0"/>
        </a:spcAft>
        <a:buClr>
          <a:schemeClr val="bg1">
            <a:lumMod val="65000"/>
          </a:schemeClr>
        </a:buClr>
        <a:buSzPct val="100000"/>
        <a:buFont typeface="Wingdings" panose="05000000000000000000" pitchFamily="2" charset="2"/>
        <a:buChar char="§"/>
        <a:defRPr sz="1800">
          <a:solidFill>
            <a:schemeClr val="tx1"/>
          </a:solidFill>
          <a:latin typeface="+mn-lt"/>
        </a:defRPr>
      </a:lvl3pPr>
      <a:lvl4pPr marL="895350" indent="-180975" algn="l" rtl="0" eaLnBrk="1" fontAlgn="base" hangingPunct="1">
        <a:spcBef>
          <a:spcPct val="20000"/>
        </a:spcBef>
        <a:spcAft>
          <a:spcPct val="0"/>
        </a:spcAft>
        <a:buClr>
          <a:schemeClr val="bg1">
            <a:lumMod val="75000"/>
          </a:schemeClr>
        </a:buClr>
        <a:buFont typeface="Wingdings" panose="05000000000000000000" pitchFamily="2" charset="2"/>
        <a:buChar char="§"/>
        <a:defRPr sz="1600">
          <a:solidFill>
            <a:schemeClr val="tx1"/>
          </a:solidFill>
          <a:latin typeface="+mn-lt"/>
        </a:defRPr>
      </a:lvl4pPr>
      <a:lvl5pPr marL="1296025" indent="0" algn="l" rtl="0" eaLnBrk="1" fontAlgn="base" hangingPunct="1">
        <a:spcBef>
          <a:spcPct val="20000"/>
        </a:spcBef>
        <a:spcAft>
          <a:spcPct val="0"/>
        </a:spcAft>
        <a:buFontTx/>
        <a:buNone/>
        <a:defRPr sz="1400">
          <a:solidFill>
            <a:schemeClr val="tx1"/>
          </a:solidFill>
          <a:latin typeface="+mn-lt"/>
        </a:defRPr>
      </a:lvl5pPr>
      <a:lvl6pPr marL="1782035" indent="-162003" algn="l" rtl="0" eaLnBrk="1" fontAlgn="base" hangingPunct="1">
        <a:spcBef>
          <a:spcPct val="20000"/>
        </a:spcBef>
        <a:spcAft>
          <a:spcPct val="0"/>
        </a:spcAft>
        <a:buChar char="»"/>
        <a:defRPr sz="1418">
          <a:solidFill>
            <a:schemeClr val="tx1"/>
          </a:solidFill>
          <a:latin typeface="Helvetica 55 Roman" pitchFamily="34" charset="0"/>
        </a:defRPr>
      </a:lvl6pPr>
      <a:lvl7pPr marL="2106041" indent="-162003" algn="l" rtl="0" eaLnBrk="1" fontAlgn="base" hangingPunct="1">
        <a:spcBef>
          <a:spcPct val="20000"/>
        </a:spcBef>
        <a:spcAft>
          <a:spcPct val="0"/>
        </a:spcAft>
        <a:buChar char="»"/>
        <a:defRPr sz="1418">
          <a:solidFill>
            <a:schemeClr val="tx1"/>
          </a:solidFill>
          <a:latin typeface="Helvetica 55 Roman" pitchFamily="34" charset="0"/>
        </a:defRPr>
      </a:lvl7pPr>
      <a:lvl8pPr marL="2430047" indent="-162003" algn="l" rtl="0" eaLnBrk="1" fontAlgn="base" hangingPunct="1">
        <a:spcBef>
          <a:spcPct val="20000"/>
        </a:spcBef>
        <a:spcAft>
          <a:spcPct val="0"/>
        </a:spcAft>
        <a:buChar char="»"/>
        <a:defRPr sz="1418">
          <a:solidFill>
            <a:schemeClr val="tx1"/>
          </a:solidFill>
          <a:latin typeface="Helvetica 55 Roman" pitchFamily="34" charset="0"/>
        </a:defRPr>
      </a:lvl8pPr>
      <a:lvl9pPr marL="2754053" indent="-162003" algn="l" rtl="0" eaLnBrk="1" fontAlgn="base" hangingPunct="1">
        <a:spcBef>
          <a:spcPct val="20000"/>
        </a:spcBef>
        <a:spcAft>
          <a:spcPct val="0"/>
        </a:spcAft>
        <a:buChar char="»"/>
        <a:defRPr sz="1418">
          <a:solidFill>
            <a:schemeClr val="tx1"/>
          </a:solidFill>
          <a:latin typeface="Helvetica 55 Roman" pitchFamily="34" charset="0"/>
        </a:defRPr>
      </a:lvl9pPr>
    </p:bodyStyle>
    <p:otherStyle>
      <a:defPPr>
        <a:defRPr lang="de-DE"/>
      </a:defPPr>
      <a:lvl1pPr marL="0" algn="l" defTabSz="648013" rtl="0" eaLnBrk="1" latinLnBrk="0" hangingPunct="1">
        <a:defRPr sz="1276" kern="1200">
          <a:solidFill>
            <a:schemeClr val="tx1"/>
          </a:solidFill>
          <a:latin typeface="+mn-lt"/>
          <a:ea typeface="+mn-ea"/>
          <a:cs typeface="+mn-cs"/>
        </a:defRPr>
      </a:lvl1pPr>
      <a:lvl2pPr marL="324006" algn="l" defTabSz="648013" rtl="0" eaLnBrk="1" latinLnBrk="0" hangingPunct="1">
        <a:defRPr sz="1276" kern="1200">
          <a:solidFill>
            <a:schemeClr val="tx1"/>
          </a:solidFill>
          <a:latin typeface="+mn-lt"/>
          <a:ea typeface="+mn-ea"/>
          <a:cs typeface="+mn-cs"/>
        </a:defRPr>
      </a:lvl2pPr>
      <a:lvl3pPr marL="648013" algn="l" defTabSz="648013" rtl="0" eaLnBrk="1" latinLnBrk="0" hangingPunct="1">
        <a:defRPr sz="1276" kern="1200">
          <a:solidFill>
            <a:schemeClr val="tx1"/>
          </a:solidFill>
          <a:latin typeface="+mn-lt"/>
          <a:ea typeface="+mn-ea"/>
          <a:cs typeface="+mn-cs"/>
        </a:defRPr>
      </a:lvl3pPr>
      <a:lvl4pPr marL="972019" algn="l" defTabSz="648013" rtl="0" eaLnBrk="1" latinLnBrk="0" hangingPunct="1">
        <a:defRPr sz="1276" kern="1200">
          <a:solidFill>
            <a:schemeClr val="tx1"/>
          </a:solidFill>
          <a:latin typeface="+mn-lt"/>
          <a:ea typeface="+mn-ea"/>
          <a:cs typeface="+mn-cs"/>
        </a:defRPr>
      </a:lvl4pPr>
      <a:lvl5pPr marL="1296025" algn="l" defTabSz="648013" rtl="0" eaLnBrk="1" latinLnBrk="0" hangingPunct="1">
        <a:defRPr sz="1276" kern="1200">
          <a:solidFill>
            <a:schemeClr val="tx1"/>
          </a:solidFill>
          <a:latin typeface="+mn-lt"/>
          <a:ea typeface="+mn-ea"/>
          <a:cs typeface="+mn-cs"/>
        </a:defRPr>
      </a:lvl5pPr>
      <a:lvl6pPr marL="1620031" algn="l" defTabSz="648013" rtl="0" eaLnBrk="1" latinLnBrk="0" hangingPunct="1">
        <a:defRPr sz="1276" kern="1200">
          <a:solidFill>
            <a:schemeClr val="tx1"/>
          </a:solidFill>
          <a:latin typeface="+mn-lt"/>
          <a:ea typeface="+mn-ea"/>
          <a:cs typeface="+mn-cs"/>
        </a:defRPr>
      </a:lvl6pPr>
      <a:lvl7pPr marL="1944038" algn="l" defTabSz="648013" rtl="0" eaLnBrk="1" latinLnBrk="0" hangingPunct="1">
        <a:defRPr sz="1276" kern="1200">
          <a:solidFill>
            <a:schemeClr val="tx1"/>
          </a:solidFill>
          <a:latin typeface="+mn-lt"/>
          <a:ea typeface="+mn-ea"/>
          <a:cs typeface="+mn-cs"/>
        </a:defRPr>
      </a:lvl7pPr>
      <a:lvl8pPr marL="2268044" algn="l" defTabSz="648013" rtl="0" eaLnBrk="1" latinLnBrk="0" hangingPunct="1">
        <a:defRPr sz="1276" kern="1200">
          <a:solidFill>
            <a:schemeClr val="tx1"/>
          </a:solidFill>
          <a:latin typeface="+mn-lt"/>
          <a:ea typeface="+mn-ea"/>
          <a:cs typeface="+mn-cs"/>
        </a:defRPr>
      </a:lvl8pPr>
      <a:lvl9pPr marL="2592050" algn="l" defTabSz="648013" rtl="0" eaLnBrk="1" latinLnBrk="0" hangingPunct="1">
        <a:defRPr sz="127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640">
          <p15:clr>
            <a:srgbClr val="F26B43"/>
          </p15:clr>
        </p15:guide>
        <p15:guide id="4" pos="3840">
          <p15:clr>
            <a:srgbClr val="F26B43"/>
          </p15:clr>
        </p15:guide>
        <p15:guide id="5" orient="horz" pos="709" userDrawn="1">
          <p15:clr>
            <a:srgbClr val="F26B43"/>
          </p15:clr>
        </p15:guide>
        <p15:guide id="6" orient="horz" pos="3929">
          <p15:clr>
            <a:srgbClr val="F26B43"/>
          </p15:clr>
        </p15:guide>
        <p15:guide id="7" orient="horz" pos="4201" userDrawn="1">
          <p15:clr>
            <a:srgbClr val="F26B43"/>
          </p15:clr>
        </p15:guide>
        <p15:guide id="8" pos="3885" userDrawn="1">
          <p15:clr>
            <a:srgbClr val="F26B43"/>
          </p15:clr>
        </p15:guide>
        <p15:guide id="9" pos="379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2.jp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imotions.com/blog/10-terms-metrics-eye-tracking/" TargetMode="External"/><Relationship Id="rId2" Type="http://schemas.openxmlformats.org/officeDocument/2006/relationships/hyperlink" Target="https://lakshaysuri.wordpress.com/2017/03/19/machine-learning-supervised-vs-unsupervised-learning/" TargetMode="External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www.dreamstime.com/object-form-geometric-part-angle-degrees-expert-hand-professional-to-take-measurements-calculate-right-image168287546" TargetMode="Externa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platzhalter 18" descr="Ein Bild, das Gebäude, Stadt, Schloss, Turm enthält.&#10;&#10;Automatisch generierte Beschreibung">
            <a:extLst>
              <a:ext uri="{FF2B5EF4-FFF2-40B4-BE49-F238E27FC236}">
                <a16:creationId xmlns:a16="http://schemas.microsoft.com/office/drawing/2014/main" id="{882FF669-564A-4497-A386-BA8B28F256B8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1" b="461"/>
          <a:stretch>
            <a:fillRect/>
          </a:stretch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AC1FB292-90C1-439C-8480-EB4116CF237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sz="3200" dirty="0"/>
              <a:t>Development </a:t>
            </a:r>
            <a:r>
              <a:rPr lang="de-DE" sz="3200" dirty="0" err="1"/>
              <a:t>of</a:t>
            </a:r>
            <a:r>
              <a:rPr lang="de-DE" sz="3200" dirty="0"/>
              <a:t> an </a:t>
            </a:r>
            <a:r>
              <a:rPr lang="de-DE" sz="3200" dirty="0" err="1"/>
              <a:t>Automated</a:t>
            </a:r>
            <a:r>
              <a:rPr lang="de-DE" sz="3200" dirty="0"/>
              <a:t> Task </a:t>
            </a:r>
            <a:r>
              <a:rPr lang="de-DE" sz="3200" dirty="0" err="1"/>
              <a:t>Sequencing</a:t>
            </a:r>
            <a:r>
              <a:rPr lang="de-DE" sz="3200" dirty="0"/>
              <a:t> Framework</a:t>
            </a:r>
            <a:endParaRPr lang="de-CH" sz="3200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6A45186-1491-4640-A581-740BCA55116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171C1F6-869F-40B1-8975-92FF2042F4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78516" y="3997538"/>
            <a:ext cx="4680000" cy="1008000"/>
          </a:xfrm>
        </p:spPr>
        <p:txBody>
          <a:bodyPr/>
          <a:lstStyle/>
          <a:p>
            <a:r>
              <a:rPr lang="de-DE" b="1" dirty="0"/>
              <a:t>Cherif Ghazi </a:t>
            </a:r>
          </a:p>
          <a:p>
            <a:r>
              <a:rPr lang="de-DE" b="1" dirty="0" err="1"/>
              <a:t>Supervised</a:t>
            </a:r>
            <a:r>
              <a:rPr lang="de-DE" b="1" dirty="0"/>
              <a:t> </a:t>
            </a:r>
            <a:r>
              <a:rPr lang="de-DE" b="1" dirty="0" err="1"/>
              <a:t>by</a:t>
            </a:r>
            <a:r>
              <a:rPr lang="de-DE" b="1" dirty="0"/>
              <a:t> Felix Wang</a:t>
            </a:r>
            <a:endParaRPr lang="de-DE" dirty="0"/>
          </a:p>
          <a:p>
            <a:r>
              <a:rPr lang="de-DE" dirty="0"/>
              <a:t>25. April 2022, </a:t>
            </a:r>
            <a:r>
              <a:rPr lang="de-DE" dirty="0" err="1"/>
              <a:t>Zurich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5706345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3258" y="378453"/>
            <a:ext cx="9517419" cy="900000"/>
          </a:xfrm>
        </p:spPr>
        <p:txBody>
          <a:bodyPr/>
          <a:lstStyle/>
          <a:p>
            <a:r>
              <a:rPr lang="en-GB" dirty="0"/>
              <a:t>Silhouette Coefficients</a:t>
            </a:r>
            <a:br>
              <a:rPr lang="en-GB" dirty="0"/>
            </a:br>
            <a:r>
              <a:rPr lang="en-GB" dirty="0">
                <a:solidFill>
                  <a:srgbClr val="999999"/>
                </a:solidFill>
              </a:rPr>
              <a:t>Introduction |</a:t>
            </a:r>
            <a:r>
              <a:rPr lang="en-GB" dirty="0">
                <a:solidFill>
                  <a:srgbClr val="82BD1C"/>
                </a:solidFill>
              </a:rPr>
              <a:t> </a:t>
            </a:r>
            <a:r>
              <a:rPr lang="en-GB" dirty="0">
                <a:solidFill>
                  <a:schemeClr val="bg2">
                    <a:lumMod val="65000"/>
                  </a:schemeClr>
                </a:solidFill>
              </a:rPr>
              <a:t>MTL</a:t>
            </a:r>
            <a:r>
              <a:rPr lang="en-GB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en-GB" dirty="0">
                <a:solidFill>
                  <a:srgbClr val="999999"/>
                </a:solidFill>
              </a:rPr>
              <a:t>| </a:t>
            </a:r>
            <a:r>
              <a:rPr lang="en-GB" dirty="0">
                <a:solidFill>
                  <a:schemeClr val="bg2">
                    <a:lumMod val="65000"/>
                  </a:schemeClr>
                </a:solidFill>
              </a:rPr>
              <a:t>Supervised vs Unsupervised </a:t>
            </a:r>
            <a:r>
              <a:rPr lang="en-GB" dirty="0">
                <a:solidFill>
                  <a:srgbClr val="999999"/>
                </a:solidFill>
              </a:rPr>
              <a:t>| </a:t>
            </a:r>
            <a:r>
              <a:rPr lang="en-GB" dirty="0">
                <a:solidFill>
                  <a:srgbClr val="82BD1C"/>
                </a:solidFill>
              </a:rPr>
              <a:t>Results</a:t>
            </a:r>
            <a:r>
              <a:rPr lang="en-GB" dirty="0">
                <a:solidFill>
                  <a:srgbClr val="999999"/>
                </a:solidFill>
              </a:rPr>
              <a:t> | </a:t>
            </a:r>
            <a:r>
              <a:rPr lang="en-GB" dirty="0" err="1">
                <a:solidFill>
                  <a:srgbClr val="999999"/>
                </a:solidFill>
              </a:rPr>
              <a:t>Mediapipe</a:t>
            </a:r>
            <a:r>
              <a:rPr lang="en-GB" dirty="0">
                <a:solidFill>
                  <a:srgbClr val="999999"/>
                </a:solidFill>
              </a:rPr>
              <a:t> | New Algorithm | Metrics | Conclusion | Bibliograph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1C1CE0-4435-42AA-82F5-2BFBD918BAAB}" type="datetime1">
              <a:rPr lang="de-DE" noProof="0" smtClean="0"/>
              <a:t>24.04.22</a:t>
            </a:fld>
            <a:endParaRPr lang="de-CH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CH"/>
              <a:t>Slide </a:t>
            </a:r>
            <a:fld id="{5ACA52AF-F19D-405C-AD5F-7D94B96A5CC3}" type="slidenum">
              <a:rPr lang="de-CH" smtClean="0"/>
              <a:pPr/>
              <a:t>10</a:t>
            </a:fld>
            <a:endParaRPr lang="de-CH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669F56A-44DE-69F1-7EEA-7DF6B7A27405}"/>
              </a:ext>
            </a:extLst>
          </p:cNvPr>
          <p:cNvSpPr txBox="1"/>
          <p:nvPr/>
        </p:nvSpPr>
        <p:spPr>
          <a:xfrm>
            <a:off x="457098" y="5408475"/>
            <a:ext cx="957334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dirty="0"/>
              <a:t>Method of </a:t>
            </a:r>
            <a:r>
              <a:rPr lang="fr-CH" dirty="0" err="1"/>
              <a:t>interpretation</a:t>
            </a:r>
            <a:r>
              <a:rPr lang="fr-CH" dirty="0"/>
              <a:t> and validation of </a:t>
            </a:r>
            <a:r>
              <a:rPr lang="fr-CH" dirty="0" err="1"/>
              <a:t>consistency</a:t>
            </a:r>
            <a:r>
              <a:rPr lang="fr-CH" dirty="0"/>
              <a:t> </a:t>
            </a:r>
            <a:r>
              <a:rPr lang="fr-CH" dirty="0" err="1"/>
              <a:t>within</a:t>
            </a:r>
            <a:r>
              <a:rPr lang="fr-CH" dirty="0"/>
              <a:t> clusters of dat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dirty="0" err="1"/>
              <a:t>Provides</a:t>
            </a:r>
            <a:r>
              <a:rPr lang="fr-CH" dirty="0"/>
              <a:t> a </a:t>
            </a:r>
            <a:r>
              <a:rPr lang="fr-CH" dirty="0" err="1"/>
              <a:t>succint</a:t>
            </a:r>
            <a:r>
              <a:rPr lang="fr-CH" dirty="0"/>
              <a:t> </a:t>
            </a:r>
            <a:r>
              <a:rPr lang="fr-CH" dirty="0" err="1"/>
              <a:t>graphical</a:t>
            </a:r>
            <a:r>
              <a:rPr lang="fr-CH" dirty="0"/>
              <a:t> </a:t>
            </a:r>
            <a:r>
              <a:rPr lang="fr-CH" dirty="0" err="1"/>
              <a:t>representation</a:t>
            </a:r>
            <a:r>
              <a:rPr lang="fr-CH" dirty="0"/>
              <a:t> of how </a:t>
            </a:r>
            <a:r>
              <a:rPr lang="fr-CH" dirty="0" err="1"/>
              <a:t>well</a:t>
            </a:r>
            <a:r>
              <a:rPr lang="fr-CH" dirty="0"/>
              <a:t> </a:t>
            </a:r>
            <a:r>
              <a:rPr lang="fr-CH" dirty="0" err="1"/>
              <a:t>each</a:t>
            </a:r>
            <a:r>
              <a:rPr lang="fr-CH" dirty="0"/>
              <a:t> </a:t>
            </a:r>
            <a:r>
              <a:rPr lang="fr-CH" dirty="0" err="1"/>
              <a:t>object</a:t>
            </a:r>
            <a:r>
              <a:rPr lang="fr-CH" dirty="0"/>
              <a:t> has been </a:t>
            </a:r>
            <a:r>
              <a:rPr lang="fr-CH" dirty="0" err="1"/>
              <a:t>classified</a:t>
            </a:r>
            <a:r>
              <a:rPr lang="fr-CH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CH" dirty="0"/>
          </a:p>
        </p:txBody>
      </p:sp>
      <p:pic>
        <p:nvPicPr>
          <p:cNvPr id="9" name="Espace réservé du contenu 4">
            <a:extLst>
              <a:ext uri="{FF2B5EF4-FFF2-40B4-BE49-F238E27FC236}">
                <a16:creationId xmlns:a16="http://schemas.microsoft.com/office/drawing/2014/main" id="{66677A32-1B36-40DD-8B67-3099DEB914B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2469"/>
          <a:stretch/>
        </p:blipFill>
        <p:spPr>
          <a:xfrm>
            <a:off x="457098" y="1496674"/>
            <a:ext cx="11277600" cy="3911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0958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3258" y="378453"/>
            <a:ext cx="9517419" cy="900000"/>
          </a:xfrm>
        </p:spPr>
        <p:txBody>
          <a:bodyPr/>
          <a:lstStyle/>
          <a:p>
            <a:r>
              <a:rPr lang="en-GB" dirty="0"/>
              <a:t>Supervised Learning Results</a:t>
            </a:r>
            <a:br>
              <a:rPr lang="en-GB" dirty="0"/>
            </a:br>
            <a:r>
              <a:rPr lang="en-GB" dirty="0">
                <a:solidFill>
                  <a:srgbClr val="999999"/>
                </a:solidFill>
              </a:rPr>
              <a:t>Introduction |</a:t>
            </a:r>
            <a:r>
              <a:rPr lang="en-GB" dirty="0">
                <a:solidFill>
                  <a:srgbClr val="82BD1C"/>
                </a:solidFill>
              </a:rPr>
              <a:t> </a:t>
            </a:r>
            <a:r>
              <a:rPr lang="en-GB" dirty="0">
                <a:solidFill>
                  <a:schemeClr val="bg2">
                    <a:lumMod val="65000"/>
                  </a:schemeClr>
                </a:solidFill>
              </a:rPr>
              <a:t>MTL</a:t>
            </a:r>
            <a:r>
              <a:rPr lang="en-GB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en-GB" dirty="0">
                <a:solidFill>
                  <a:srgbClr val="999999"/>
                </a:solidFill>
              </a:rPr>
              <a:t>| </a:t>
            </a:r>
            <a:r>
              <a:rPr lang="en-GB" dirty="0">
                <a:solidFill>
                  <a:schemeClr val="bg2">
                    <a:lumMod val="65000"/>
                  </a:schemeClr>
                </a:solidFill>
              </a:rPr>
              <a:t>Supervised vs Unsupervised </a:t>
            </a:r>
            <a:r>
              <a:rPr lang="en-GB" dirty="0">
                <a:solidFill>
                  <a:srgbClr val="999999"/>
                </a:solidFill>
              </a:rPr>
              <a:t>| </a:t>
            </a:r>
            <a:r>
              <a:rPr lang="en-GB" dirty="0">
                <a:solidFill>
                  <a:srgbClr val="82BD1C"/>
                </a:solidFill>
              </a:rPr>
              <a:t>Results</a:t>
            </a:r>
            <a:r>
              <a:rPr lang="en-GB" dirty="0">
                <a:solidFill>
                  <a:srgbClr val="999999"/>
                </a:solidFill>
              </a:rPr>
              <a:t> | </a:t>
            </a:r>
            <a:r>
              <a:rPr lang="en-GB" dirty="0" err="1">
                <a:solidFill>
                  <a:srgbClr val="999999"/>
                </a:solidFill>
              </a:rPr>
              <a:t>Mediapipe</a:t>
            </a:r>
            <a:r>
              <a:rPr lang="en-GB" dirty="0">
                <a:solidFill>
                  <a:srgbClr val="999999"/>
                </a:solidFill>
              </a:rPr>
              <a:t> | New Algorithm | Metrics | Conclusion | Bibliograph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1C1CE0-4435-42AA-82F5-2BFBD918BAAB}" type="datetime1">
              <a:rPr lang="de-DE" noProof="0" smtClean="0"/>
              <a:t>24.04.22</a:t>
            </a:fld>
            <a:endParaRPr lang="de-CH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CH"/>
              <a:t>Slide </a:t>
            </a:r>
            <a:fld id="{5ACA52AF-F19D-405C-AD5F-7D94B96A5CC3}" type="slidenum">
              <a:rPr lang="de-CH" smtClean="0"/>
              <a:pPr/>
              <a:t>11</a:t>
            </a:fld>
            <a:endParaRPr lang="de-CH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669F56A-44DE-69F1-7EEA-7DF6B7A27405}"/>
              </a:ext>
            </a:extLst>
          </p:cNvPr>
          <p:cNvSpPr txBox="1"/>
          <p:nvPr/>
        </p:nvSpPr>
        <p:spPr>
          <a:xfrm>
            <a:off x="768350" y="5047675"/>
            <a:ext cx="957334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dirty="0"/>
              <a:t>Low </a:t>
            </a:r>
            <a:r>
              <a:rPr lang="fr-CH" dirty="0" err="1"/>
              <a:t>accuracy</a:t>
            </a:r>
            <a:r>
              <a:rPr lang="fr-CH" dirty="0"/>
              <a:t> (20%) 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dirty="0" err="1"/>
              <a:t>Layers</a:t>
            </a:r>
            <a:r>
              <a:rPr lang="fr-CH" dirty="0"/>
              <a:t> 100-80-50-2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CH" dirty="0"/>
          </a:p>
        </p:txBody>
      </p:sp>
      <p:pic>
        <p:nvPicPr>
          <p:cNvPr id="12" name="Espace réservé du contenu 4" descr="Une image contenant texte&#10;&#10;Description générée automatiquement">
            <a:extLst>
              <a:ext uri="{FF2B5EF4-FFF2-40B4-BE49-F238E27FC236}">
                <a16:creationId xmlns:a16="http://schemas.microsoft.com/office/drawing/2014/main" id="{CC893D18-8A19-689B-520B-75923FFD133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68350" y="1959243"/>
            <a:ext cx="10691812" cy="2561377"/>
          </a:xfrm>
        </p:spPr>
      </p:pic>
    </p:spTree>
    <p:extLst>
      <p:ext uri="{BB962C8B-B14F-4D97-AF65-F5344CB8AC3E}">
        <p14:creationId xmlns:p14="http://schemas.microsoft.com/office/powerpoint/2010/main" val="1190319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3258" y="378453"/>
            <a:ext cx="9517419" cy="900000"/>
          </a:xfrm>
        </p:spPr>
        <p:txBody>
          <a:bodyPr/>
          <a:lstStyle/>
          <a:p>
            <a:r>
              <a:rPr lang="en-GB" dirty="0" err="1"/>
              <a:t>Mediapipe</a:t>
            </a:r>
            <a:br>
              <a:rPr lang="en-GB" dirty="0"/>
            </a:br>
            <a:r>
              <a:rPr lang="en-GB" dirty="0">
                <a:solidFill>
                  <a:srgbClr val="999999"/>
                </a:solidFill>
              </a:rPr>
              <a:t>Introduction |</a:t>
            </a:r>
            <a:r>
              <a:rPr lang="en-GB" dirty="0">
                <a:solidFill>
                  <a:srgbClr val="82BD1C"/>
                </a:solidFill>
              </a:rPr>
              <a:t> </a:t>
            </a:r>
            <a:r>
              <a:rPr lang="en-GB" dirty="0">
                <a:solidFill>
                  <a:schemeClr val="bg2">
                    <a:lumMod val="65000"/>
                  </a:schemeClr>
                </a:solidFill>
              </a:rPr>
              <a:t>MTL</a:t>
            </a:r>
            <a:r>
              <a:rPr lang="en-GB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en-GB" dirty="0">
                <a:solidFill>
                  <a:srgbClr val="999999"/>
                </a:solidFill>
              </a:rPr>
              <a:t>| </a:t>
            </a:r>
            <a:r>
              <a:rPr lang="en-GB" dirty="0">
                <a:solidFill>
                  <a:schemeClr val="bg2">
                    <a:lumMod val="65000"/>
                  </a:schemeClr>
                </a:solidFill>
              </a:rPr>
              <a:t>Supervised vs Unsupervised </a:t>
            </a:r>
            <a:r>
              <a:rPr lang="en-GB" dirty="0">
                <a:solidFill>
                  <a:srgbClr val="999999"/>
                </a:solidFill>
              </a:rPr>
              <a:t>| Results | </a:t>
            </a:r>
            <a:r>
              <a:rPr lang="en-GB" dirty="0" err="1">
                <a:solidFill>
                  <a:srgbClr val="82BD1C"/>
                </a:solidFill>
              </a:rPr>
              <a:t>Mediapipe</a:t>
            </a:r>
            <a:r>
              <a:rPr lang="en-GB" dirty="0">
                <a:solidFill>
                  <a:srgbClr val="999999"/>
                </a:solidFill>
              </a:rPr>
              <a:t> | New Algorithm | Metrics | Conclusion | Bibliograph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1C1CE0-4435-42AA-82F5-2BFBD918BAAB}" type="datetime1">
              <a:rPr lang="de-DE" noProof="0" smtClean="0"/>
              <a:t>24.04.22</a:t>
            </a:fld>
            <a:endParaRPr lang="de-CH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CH"/>
              <a:t>Slide </a:t>
            </a:r>
            <a:fld id="{5ACA52AF-F19D-405C-AD5F-7D94B96A5CC3}" type="slidenum">
              <a:rPr lang="de-CH" smtClean="0"/>
              <a:pPr/>
              <a:t>12</a:t>
            </a:fld>
            <a:endParaRPr lang="de-CH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669F56A-44DE-69F1-7EEA-7DF6B7A27405}"/>
              </a:ext>
            </a:extLst>
          </p:cNvPr>
          <p:cNvSpPr txBox="1"/>
          <p:nvPr/>
        </p:nvSpPr>
        <p:spPr>
          <a:xfrm>
            <a:off x="550804" y="1834918"/>
            <a:ext cx="41033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dirty="0"/>
              <a:t>Google Mode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dirty="0" err="1"/>
              <a:t>Trained</a:t>
            </a:r>
            <a:r>
              <a:rPr lang="fr-CH" dirty="0"/>
              <a:t> over a million imag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CH" dirty="0"/>
          </a:p>
        </p:txBody>
      </p:sp>
      <p:pic>
        <p:nvPicPr>
          <p:cNvPr id="10" name="Espace réservé du contenu 4">
            <a:extLst>
              <a:ext uri="{FF2B5EF4-FFF2-40B4-BE49-F238E27FC236}">
                <a16:creationId xmlns:a16="http://schemas.microsoft.com/office/drawing/2014/main" id="{CA583E22-0E5E-EC3A-5384-D2CCBCA06D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54154" y="1278453"/>
            <a:ext cx="6852045" cy="5240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16229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3258" y="378453"/>
            <a:ext cx="9517419" cy="900000"/>
          </a:xfrm>
        </p:spPr>
        <p:txBody>
          <a:bodyPr/>
          <a:lstStyle/>
          <a:p>
            <a:r>
              <a:rPr lang="en-GB" dirty="0"/>
              <a:t>Landmarks</a:t>
            </a:r>
            <a:br>
              <a:rPr lang="en-GB" dirty="0"/>
            </a:br>
            <a:r>
              <a:rPr lang="en-GB" dirty="0">
                <a:solidFill>
                  <a:srgbClr val="999999"/>
                </a:solidFill>
              </a:rPr>
              <a:t>Introduction |</a:t>
            </a:r>
            <a:r>
              <a:rPr lang="en-GB" dirty="0">
                <a:solidFill>
                  <a:srgbClr val="82BD1C"/>
                </a:solidFill>
              </a:rPr>
              <a:t> </a:t>
            </a:r>
            <a:r>
              <a:rPr lang="en-GB" dirty="0">
                <a:solidFill>
                  <a:schemeClr val="bg2">
                    <a:lumMod val="65000"/>
                  </a:schemeClr>
                </a:solidFill>
              </a:rPr>
              <a:t>MTL</a:t>
            </a:r>
            <a:r>
              <a:rPr lang="en-GB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en-GB" dirty="0">
                <a:solidFill>
                  <a:srgbClr val="999999"/>
                </a:solidFill>
              </a:rPr>
              <a:t>| </a:t>
            </a:r>
            <a:r>
              <a:rPr lang="en-GB" dirty="0">
                <a:solidFill>
                  <a:schemeClr val="bg2">
                    <a:lumMod val="65000"/>
                  </a:schemeClr>
                </a:solidFill>
              </a:rPr>
              <a:t>Supervised vs Unsupervised </a:t>
            </a:r>
            <a:r>
              <a:rPr lang="en-GB" dirty="0">
                <a:solidFill>
                  <a:srgbClr val="999999"/>
                </a:solidFill>
              </a:rPr>
              <a:t>| Results | </a:t>
            </a:r>
            <a:r>
              <a:rPr lang="en-GB" dirty="0" err="1">
                <a:solidFill>
                  <a:srgbClr val="82BD1C"/>
                </a:solidFill>
              </a:rPr>
              <a:t>Mediapipe</a:t>
            </a:r>
            <a:r>
              <a:rPr lang="en-GB" dirty="0">
                <a:solidFill>
                  <a:srgbClr val="999999"/>
                </a:solidFill>
              </a:rPr>
              <a:t> | New Algorithm | Metrics | Conclusion | Bibliograph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1C1CE0-4435-42AA-82F5-2BFBD918BAAB}" type="datetime1">
              <a:rPr lang="de-DE" noProof="0" smtClean="0"/>
              <a:t>24.04.22</a:t>
            </a:fld>
            <a:endParaRPr lang="de-CH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CH"/>
              <a:t>Slide </a:t>
            </a:r>
            <a:fld id="{5ACA52AF-F19D-405C-AD5F-7D94B96A5CC3}" type="slidenum">
              <a:rPr lang="de-CH" smtClean="0"/>
              <a:pPr/>
              <a:t>13</a:t>
            </a:fld>
            <a:endParaRPr lang="de-CH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669F56A-44DE-69F1-7EEA-7DF6B7A27405}"/>
              </a:ext>
            </a:extLst>
          </p:cNvPr>
          <p:cNvSpPr txBox="1"/>
          <p:nvPr/>
        </p:nvSpPr>
        <p:spPr>
          <a:xfrm>
            <a:off x="550804" y="1834918"/>
            <a:ext cx="332377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dirty="0" err="1"/>
              <a:t>Detecting</a:t>
            </a:r>
            <a:r>
              <a:rPr lang="fr-CH" dirty="0"/>
              <a:t> a </a:t>
            </a:r>
            <a:r>
              <a:rPr lang="fr-CH" dirty="0" err="1"/>
              <a:t>bunch</a:t>
            </a:r>
            <a:r>
              <a:rPr lang="fr-CH" dirty="0"/>
              <a:t> of </a:t>
            </a:r>
            <a:r>
              <a:rPr lang="fr-CH" dirty="0" err="1"/>
              <a:t>landmarks</a:t>
            </a:r>
            <a:r>
              <a:rPr lang="fr-CH" dirty="0"/>
              <a:t> on the hand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dirty="0" err="1"/>
              <a:t>Classified</a:t>
            </a:r>
            <a:r>
              <a:rPr lang="fr-CH" dirty="0"/>
              <a:t> and </a:t>
            </a:r>
            <a:r>
              <a:rPr lang="fr-CH" dirty="0" err="1"/>
              <a:t>identified</a:t>
            </a:r>
            <a:r>
              <a:rPr lang="fr-CH" dirty="0"/>
              <a:t>.</a:t>
            </a:r>
          </a:p>
        </p:txBody>
      </p:sp>
      <p:pic>
        <p:nvPicPr>
          <p:cNvPr id="8" name="Espace réservé du contenu 4" descr="Une image contenant texte&#10;&#10;Description générée automatiquement">
            <a:extLst>
              <a:ext uri="{FF2B5EF4-FFF2-40B4-BE49-F238E27FC236}">
                <a16:creationId xmlns:a16="http://schemas.microsoft.com/office/drawing/2014/main" id="{458CD2E2-ECE6-A059-44C3-23D73B0D0CE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011634" y="2027004"/>
            <a:ext cx="7944644" cy="2803992"/>
          </a:xfrm>
        </p:spPr>
      </p:pic>
    </p:spTree>
    <p:extLst>
      <p:ext uri="{BB962C8B-B14F-4D97-AF65-F5344CB8AC3E}">
        <p14:creationId xmlns:p14="http://schemas.microsoft.com/office/powerpoint/2010/main" val="31474630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3258" y="378453"/>
            <a:ext cx="9517419" cy="900000"/>
          </a:xfrm>
        </p:spPr>
        <p:txBody>
          <a:bodyPr/>
          <a:lstStyle/>
          <a:p>
            <a:r>
              <a:rPr lang="en-GB" dirty="0"/>
              <a:t>Unsupervised Learning Results</a:t>
            </a:r>
            <a:br>
              <a:rPr lang="en-GB" dirty="0"/>
            </a:br>
            <a:r>
              <a:rPr lang="en-GB" dirty="0">
                <a:solidFill>
                  <a:srgbClr val="999999"/>
                </a:solidFill>
              </a:rPr>
              <a:t>Introduction |</a:t>
            </a:r>
            <a:r>
              <a:rPr lang="en-GB" dirty="0">
                <a:solidFill>
                  <a:srgbClr val="82BD1C"/>
                </a:solidFill>
              </a:rPr>
              <a:t> </a:t>
            </a:r>
            <a:r>
              <a:rPr lang="en-GB" dirty="0">
                <a:solidFill>
                  <a:schemeClr val="bg2">
                    <a:lumMod val="65000"/>
                  </a:schemeClr>
                </a:solidFill>
              </a:rPr>
              <a:t>MTL</a:t>
            </a:r>
            <a:r>
              <a:rPr lang="en-GB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en-GB" dirty="0">
                <a:solidFill>
                  <a:srgbClr val="999999"/>
                </a:solidFill>
              </a:rPr>
              <a:t>| </a:t>
            </a:r>
            <a:r>
              <a:rPr lang="en-GB" dirty="0">
                <a:solidFill>
                  <a:schemeClr val="bg2">
                    <a:lumMod val="65000"/>
                  </a:schemeClr>
                </a:solidFill>
              </a:rPr>
              <a:t>Supervised vs Unsupervised </a:t>
            </a:r>
            <a:r>
              <a:rPr lang="en-GB" dirty="0">
                <a:solidFill>
                  <a:srgbClr val="999999"/>
                </a:solidFill>
              </a:rPr>
              <a:t>| Results | </a:t>
            </a:r>
            <a:r>
              <a:rPr lang="en-GB" dirty="0" err="1">
                <a:solidFill>
                  <a:srgbClr val="999999"/>
                </a:solidFill>
              </a:rPr>
              <a:t>Mediapipe</a:t>
            </a:r>
            <a:r>
              <a:rPr lang="en-GB" dirty="0">
                <a:solidFill>
                  <a:srgbClr val="999999"/>
                </a:solidFill>
              </a:rPr>
              <a:t> | </a:t>
            </a:r>
            <a:r>
              <a:rPr lang="en-GB" dirty="0">
                <a:solidFill>
                  <a:srgbClr val="82BD1C"/>
                </a:solidFill>
              </a:rPr>
              <a:t>New Algorithm </a:t>
            </a:r>
            <a:r>
              <a:rPr lang="en-GB" dirty="0">
                <a:solidFill>
                  <a:srgbClr val="999999"/>
                </a:solidFill>
              </a:rPr>
              <a:t>| Metrics | Conclusion | Bibliograph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1C1CE0-4435-42AA-82F5-2BFBD918BAAB}" type="datetime1">
              <a:rPr lang="de-DE" noProof="0" smtClean="0"/>
              <a:t>24.04.22</a:t>
            </a:fld>
            <a:endParaRPr lang="de-CH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CH"/>
              <a:t>Slide </a:t>
            </a:r>
            <a:fld id="{5ACA52AF-F19D-405C-AD5F-7D94B96A5CC3}" type="slidenum">
              <a:rPr lang="de-CH" smtClean="0"/>
              <a:pPr/>
              <a:t>14</a:t>
            </a:fld>
            <a:endParaRPr lang="de-CH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669F56A-44DE-69F1-7EEA-7DF6B7A27405}"/>
              </a:ext>
            </a:extLst>
          </p:cNvPr>
          <p:cNvSpPr txBox="1"/>
          <p:nvPr/>
        </p:nvSpPr>
        <p:spPr>
          <a:xfrm>
            <a:off x="550804" y="1834918"/>
            <a:ext cx="332377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dirty="0" err="1"/>
              <a:t>Prints</a:t>
            </a:r>
            <a:r>
              <a:rPr lang="fr-CH" dirty="0"/>
              <a:t> all the </a:t>
            </a:r>
            <a:r>
              <a:rPr lang="fr-CH" dirty="0" err="1"/>
              <a:t>landmarks</a:t>
            </a:r>
            <a:r>
              <a:rPr lang="fr-CH" dirty="0"/>
              <a:t> on the </a:t>
            </a:r>
            <a:r>
              <a:rPr lang="fr-CH" dirty="0" err="1"/>
              <a:t>video</a:t>
            </a:r>
            <a:r>
              <a:rPr lang="fr-CH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dirty="0" err="1"/>
              <a:t>Detecting</a:t>
            </a:r>
            <a:r>
              <a:rPr lang="fr-CH" dirty="0"/>
              <a:t> </a:t>
            </a:r>
            <a:r>
              <a:rPr lang="fr-CH" dirty="0" err="1"/>
              <a:t>whether</a:t>
            </a:r>
            <a:r>
              <a:rPr lang="fr-CH" dirty="0"/>
              <a:t> the hand </a:t>
            </a:r>
            <a:r>
              <a:rPr lang="fr-CH" dirty="0" err="1"/>
              <a:t>is</a:t>
            </a:r>
            <a:r>
              <a:rPr lang="fr-CH" dirty="0"/>
              <a:t> </a:t>
            </a:r>
            <a:r>
              <a:rPr lang="fr-CH" dirty="0" err="1"/>
              <a:t>left</a:t>
            </a:r>
            <a:r>
              <a:rPr lang="fr-CH" dirty="0"/>
              <a:t> or righ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dirty="0" err="1"/>
              <a:t>Ouputs</a:t>
            </a:r>
            <a:r>
              <a:rPr lang="fr-CH" dirty="0"/>
              <a:t> x and y </a:t>
            </a:r>
            <a:r>
              <a:rPr lang="fr-CH" dirty="0" err="1"/>
              <a:t>coordinates</a:t>
            </a:r>
            <a:r>
              <a:rPr lang="fr-CH" dirty="0"/>
              <a:t> of the </a:t>
            </a:r>
            <a:r>
              <a:rPr lang="fr-CH" dirty="0" err="1"/>
              <a:t>different</a:t>
            </a:r>
            <a:r>
              <a:rPr lang="fr-CH" dirty="0"/>
              <a:t> </a:t>
            </a:r>
            <a:r>
              <a:rPr lang="fr-CH" dirty="0" err="1"/>
              <a:t>landmarks</a:t>
            </a:r>
            <a:r>
              <a:rPr lang="fr-CH" dirty="0"/>
              <a:t> in the image frame.</a:t>
            </a:r>
          </a:p>
        </p:txBody>
      </p:sp>
      <p:pic>
        <p:nvPicPr>
          <p:cNvPr id="14" name="Exp1PrimingApplyTip" descr="Exp1PrimingApplyTip">
            <a:hlinkClick r:id="" action="ppaction://media"/>
            <a:extLst>
              <a:ext uri="{FF2B5EF4-FFF2-40B4-BE49-F238E27FC236}">
                <a16:creationId xmlns:a16="http://schemas.microsoft.com/office/drawing/2014/main" id="{30E51CF4-39B4-5F82-FF42-C721714A4B26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4578832" y="1484278"/>
            <a:ext cx="7062364" cy="5013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7030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1120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9755" y="265165"/>
            <a:ext cx="9517419" cy="900000"/>
          </a:xfrm>
        </p:spPr>
        <p:txBody>
          <a:bodyPr/>
          <a:lstStyle/>
          <a:p>
            <a:r>
              <a:rPr lang="en-GB" dirty="0"/>
              <a:t>What we can achieve</a:t>
            </a:r>
            <a:br>
              <a:rPr lang="en-GB" dirty="0"/>
            </a:br>
            <a:r>
              <a:rPr lang="en-GB" dirty="0">
                <a:solidFill>
                  <a:srgbClr val="999999"/>
                </a:solidFill>
              </a:rPr>
              <a:t>Introduction |</a:t>
            </a:r>
            <a:r>
              <a:rPr lang="en-GB" dirty="0">
                <a:solidFill>
                  <a:srgbClr val="82BD1C"/>
                </a:solidFill>
              </a:rPr>
              <a:t> </a:t>
            </a:r>
            <a:r>
              <a:rPr lang="en-GB" dirty="0">
                <a:solidFill>
                  <a:schemeClr val="bg2">
                    <a:lumMod val="65000"/>
                  </a:schemeClr>
                </a:solidFill>
              </a:rPr>
              <a:t>MTL</a:t>
            </a:r>
            <a:r>
              <a:rPr lang="en-GB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en-GB" dirty="0">
                <a:solidFill>
                  <a:srgbClr val="999999"/>
                </a:solidFill>
              </a:rPr>
              <a:t>| </a:t>
            </a:r>
            <a:r>
              <a:rPr lang="en-GB" dirty="0">
                <a:solidFill>
                  <a:schemeClr val="bg2">
                    <a:lumMod val="65000"/>
                  </a:schemeClr>
                </a:solidFill>
              </a:rPr>
              <a:t>Supervised vs Unsupervised </a:t>
            </a:r>
            <a:r>
              <a:rPr lang="en-GB" dirty="0">
                <a:solidFill>
                  <a:srgbClr val="999999"/>
                </a:solidFill>
              </a:rPr>
              <a:t>| Results | </a:t>
            </a:r>
            <a:r>
              <a:rPr lang="en-GB" dirty="0" err="1">
                <a:solidFill>
                  <a:srgbClr val="999999"/>
                </a:solidFill>
              </a:rPr>
              <a:t>Mediapipe</a:t>
            </a:r>
            <a:r>
              <a:rPr lang="en-GB" dirty="0">
                <a:solidFill>
                  <a:srgbClr val="999999"/>
                </a:solidFill>
              </a:rPr>
              <a:t> | New Algorithm | Metrics | Conclusion | </a:t>
            </a:r>
            <a:r>
              <a:rPr lang="en-GB" dirty="0">
                <a:solidFill>
                  <a:srgbClr val="82BD1C"/>
                </a:solidFill>
              </a:rPr>
              <a:t>Bibliography</a:t>
            </a:r>
            <a:endParaRPr lang="en-GB" dirty="0">
              <a:solidFill>
                <a:srgbClr val="99999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1C1CE0-4435-42AA-82F5-2BFBD918BAAB}" type="datetime1">
              <a:rPr lang="de-DE" noProof="0" smtClean="0"/>
              <a:t>24.04.22</a:t>
            </a:fld>
            <a:endParaRPr lang="de-CH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CH"/>
              <a:t>Slide </a:t>
            </a:r>
            <a:fld id="{5ACA52AF-F19D-405C-AD5F-7D94B96A5CC3}" type="slidenum">
              <a:rPr lang="de-CH" smtClean="0"/>
              <a:pPr/>
              <a:t>15</a:t>
            </a:fld>
            <a:endParaRPr lang="de-CH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669F56A-44DE-69F1-7EEA-7DF6B7A27405}"/>
              </a:ext>
            </a:extLst>
          </p:cNvPr>
          <p:cNvSpPr txBox="1"/>
          <p:nvPr/>
        </p:nvSpPr>
        <p:spPr>
          <a:xfrm>
            <a:off x="209741" y="1753055"/>
            <a:ext cx="332377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dirty="0" err="1"/>
              <a:t>Prints</a:t>
            </a:r>
            <a:r>
              <a:rPr lang="fr-CH" dirty="0"/>
              <a:t> all the </a:t>
            </a:r>
            <a:r>
              <a:rPr lang="fr-CH" dirty="0" err="1"/>
              <a:t>landmarks</a:t>
            </a:r>
            <a:r>
              <a:rPr lang="fr-CH" dirty="0"/>
              <a:t> on the </a:t>
            </a:r>
            <a:r>
              <a:rPr lang="fr-CH" dirty="0" err="1"/>
              <a:t>video</a:t>
            </a:r>
            <a:r>
              <a:rPr lang="fr-CH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dirty="0" err="1"/>
              <a:t>Detecting</a:t>
            </a:r>
            <a:r>
              <a:rPr lang="fr-CH" dirty="0"/>
              <a:t> </a:t>
            </a:r>
            <a:r>
              <a:rPr lang="fr-CH" dirty="0" err="1"/>
              <a:t>whether</a:t>
            </a:r>
            <a:r>
              <a:rPr lang="fr-CH" dirty="0"/>
              <a:t> the hand </a:t>
            </a:r>
            <a:r>
              <a:rPr lang="fr-CH" dirty="0" err="1"/>
              <a:t>is</a:t>
            </a:r>
            <a:r>
              <a:rPr lang="fr-CH" dirty="0"/>
              <a:t> </a:t>
            </a:r>
            <a:r>
              <a:rPr lang="fr-CH" dirty="0" err="1"/>
              <a:t>left</a:t>
            </a:r>
            <a:r>
              <a:rPr lang="fr-CH" dirty="0"/>
              <a:t> or righ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dirty="0" err="1"/>
              <a:t>Ouputs</a:t>
            </a:r>
            <a:r>
              <a:rPr lang="fr-CH" dirty="0"/>
              <a:t> x and y </a:t>
            </a:r>
            <a:r>
              <a:rPr lang="fr-CH" dirty="0" err="1"/>
              <a:t>coordinates</a:t>
            </a:r>
            <a:r>
              <a:rPr lang="fr-CH" dirty="0"/>
              <a:t> of the </a:t>
            </a:r>
            <a:r>
              <a:rPr lang="fr-CH" dirty="0" err="1"/>
              <a:t>different</a:t>
            </a:r>
            <a:r>
              <a:rPr lang="fr-CH" dirty="0"/>
              <a:t> </a:t>
            </a:r>
            <a:r>
              <a:rPr lang="fr-CH" dirty="0" err="1"/>
              <a:t>landmarks</a:t>
            </a:r>
            <a:r>
              <a:rPr lang="fr-CH" dirty="0"/>
              <a:t> in the image frame.</a:t>
            </a:r>
          </a:p>
        </p:txBody>
      </p:sp>
      <p:pic>
        <p:nvPicPr>
          <p:cNvPr id="14" name="Exp1PrimingApplyTip" descr="Exp1PrimingApplyTip">
            <a:hlinkClick r:id="" action="ppaction://media"/>
            <a:extLst>
              <a:ext uri="{FF2B5EF4-FFF2-40B4-BE49-F238E27FC236}">
                <a16:creationId xmlns:a16="http://schemas.microsoft.com/office/drawing/2014/main" id="{30E51CF4-39B4-5F82-FF42-C721714A4B26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4578832" y="1484278"/>
            <a:ext cx="7062364" cy="5013782"/>
          </a:xfrm>
          <a:prstGeom prst="rect">
            <a:avLst/>
          </a:prstGeom>
        </p:spPr>
      </p:pic>
      <p:sp>
        <p:nvSpPr>
          <p:cNvPr id="8" name="Bouée 7">
            <a:extLst>
              <a:ext uri="{FF2B5EF4-FFF2-40B4-BE49-F238E27FC236}">
                <a16:creationId xmlns:a16="http://schemas.microsoft.com/office/drawing/2014/main" id="{2414BF01-8F96-131E-4D7A-15D9919761B8}"/>
              </a:ext>
            </a:extLst>
          </p:cNvPr>
          <p:cNvSpPr/>
          <p:nvPr/>
        </p:nvSpPr>
        <p:spPr>
          <a:xfrm>
            <a:off x="4204256" y="1165165"/>
            <a:ext cx="749151" cy="758994"/>
          </a:xfrm>
          <a:prstGeom prst="don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9" name="Flèche vers la droite 8">
            <a:extLst>
              <a:ext uri="{FF2B5EF4-FFF2-40B4-BE49-F238E27FC236}">
                <a16:creationId xmlns:a16="http://schemas.microsoft.com/office/drawing/2014/main" id="{7A285327-2B31-BE13-E9B6-EC24180C009C}"/>
              </a:ext>
            </a:extLst>
          </p:cNvPr>
          <p:cNvSpPr/>
          <p:nvPr/>
        </p:nvSpPr>
        <p:spPr>
          <a:xfrm rot="17714727">
            <a:off x="2263276" y="2945755"/>
            <a:ext cx="3076471" cy="625081"/>
          </a:xfrm>
          <a:prstGeom prst="rightArrow">
            <a:avLst>
              <a:gd name="adj1" fmla="val 50000"/>
              <a:gd name="adj2" fmla="val 45899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650817D9-48F3-34FA-5591-EAC9BDDF3F80}"/>
              </a:ext>
            </a:extLst>
          </p:cNvPr>
          <p:cNvSpPr txBox="1"/>
          <p:nvPr/>
        </p:nvSpPr>
        <p:spPr>
          <a:xfrm>
            <a:off x="1779131" y="4817174"/>
            <a:ext cx="20954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Origin of the frame</a:t>
            </a:r>
          </a:p>
        </p:txBody>
      </p:sp>
    </p:spTree>
    <p:extLst>
      <p:ext uri="{BB962C8B-B14F-4D97-AF65-F5344CB8AC3E}">
        <p14:creationId xmlns:p14="http://schemas.microsoft.com/office/powerpoint/2010/main" val="4592745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1120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3258" y="378453"/>
            <a:ext cx="9517419" cy="900000"/>
          </a:xfrm>
        </p:spPr>
        <p:txBody>
          <a:bodyPr/>
          <a:lstStyle/>
          <a:p>
            <a:r>
              <a:rPr lang="en-GB" dirty="0"/>
              <a:t>Metrics</a:t>
            </a:r>
            <a:br>
              <a:rPr lang="en-GB" dirty="0"/>
            </a:br>
            <a:r>
              <a:rPr lang="en-GB" dirty="0">
                <a:solidFill>
                  <a:srgbClr val="999999"/>
                </a:solidFill>
              </a:rPr>
              <a:t>Introduction |</a:t>
            </a:r>
            <a:r>
              <a:rPr lang="en-GB" dirty="0">
                <a:solidFill>
                  <a:srgbClr val="82BD1C"/>
                </a:solidFill>
              </a:rPr>
              <a:t> </a:t>
            </a:r>
            <a:r>
              <a:rPr lang="en-GB" dirty="0">
                <a:solidFill>
                  <a:schemeClr val="bg2">
                    <a:lumMod val="65000"/>
                  </a:schemeClr>
                </a:solidFill>
              </a:rPr>
              <a:t>MTL</a:t>
            </a:r>
            <a:r>
              <a:rPr lang="en-GB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en-GB" dirty="0">
                <a:solidFill>
                  <a:srgbClr val="999999"/>
                </a:solidFill>
              </a:rPr>
              <a:t>| </a:t>
            </a:r>
            <a:r>
              <a:rPr lang="en-GB" dirty="0">
                <a:solidFill>
                  <a:schemeClr val="bg2">
                    <a:lumMod val="65000"/>
                  </a:schemeClr>
                </a:solidFill>
              </a:rPr>
              <a:t>Supervised vs Unsupervised </a:t>
            </a:r>
            <a:r>
              <a:rPr lang="en-GB" dirty="0">
                <a:solidFill>
                  <a:srgbClr val="999999"/>
                </a:solidFill>
              </a:rPr>
              <a:t>| Results | </a:t>
            </a:r>
            <a:r>
              <a:rPr lang="en-GB" dirty="0" err="1">
                <a:solidFill>
                  <a:srgbClr val="999999"/>
                </a:solidFill>
              </a:rPr>
              <a:t>Mediapipe</a:t>
            </a:r>
            <a:r>
              <a:rPr lang="en-GB" dirty="0">
                <a:solidFill>
                  <a:srgbClr val="999999"/>
                </a:solidFill>
              </a:rPr>
              <a:t> | New Algorithm | </a:t>
            </a:r>
            <a:r>
              <a:rPr lang="en-GB" dirty="0">
                <a:solidFill>
                  <a:srgbClr val="82BD1C"/>
                </a:solidFill>
              </a:rPr>
              <a:t>Metrics</a:t>
            </a:r>
            <a:r>
              <a:rPr lang="en-GB" dirty="0">
                <a:solidFill>
                  <a:srgbClr val="999999"/>
                </a:solidFill>
              </a:rPr>
              <a:t> | Conclusion | Bibliograph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1C1CE0-4435-42AA-82F5-2BFBD918BAAB}" type="datetime1">
              <a:rPr lang="de-DE" noProof="0" smtClean="0"/>
              <a:t>24.04.22</a:t>
            </a:fld>
            <a:endParaRPr lang="de-CH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CH"/>
              <a:t>Slide </a:t>
            </a:r>
            <a:fld id="{5ACA52AF-F19D-405C-AD5F-7D94B96A5CC3}" type="slidenum">
              <a:rPr lang="de-CH" smtClean="0"/>
              <a:pPr/>
              <a:t>16</a:t>
            </a:fld>
            <a:endParaRPr lang="de-CH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669F56A-44DE-69F1-7EEA-7DF6B7A27405}"/>
              </a:ext>
            </a:extLst>
          </p:cNvPr>
          <p:cNvSpPr txBox="1"/>
          <p:nvPr/>
        </p:nvSpPr>
        <p:spPr>
          <a:xfrm>
            <a:off x="359754" y="1783153"/>
            <a:ext cx="116359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H" dirty="0"/>
              <a:t>	Hand Object				     Gaze Object			           Gaze Hand</a:t>
            </a:r>
          </a:p>
        </p:txBody>
      </p:sp>
      <p:pic>
        <p:nvPicPr>
          <p:cNvPr id="7" name="Image 6" descr="Une image contenant texte, personne&#10;&#10;Description générée automatiquement">
            <a:extLst>
              <a:ext uri="{FF2B5EF4-FFF2-40B4-BE49-F238E27FC236}">
                <a16:creationId xmlns:a16="http://schemas.microsoft.com/office/drawing/2014/main" id="{59107A1B-7EA5-7866-149A-1E63D753AA1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1860" y="2286940"/>
            <a:ext cx="5006446" cy="2645221"/>
          </a:xfrm>
          <a:prstGeom prst="rect">
            <a:avLst/>
          </a:prstGeom>
        </p:spPr>
      </p:pic>
      <p:pic>
        <p:nvPicPr>
          <p:cNvPr id="13" name="Image 12" descr="Une image contenant texte&#10;&#10;Description générée automatiquement">
            <a:extLst>
              <a:ext uri="{FF2B5EF4-FFF2-40B4-BE49-F238E27FC236}">
                <a16:creationId xmlns:a16="http://schemas.microsoft.com/office/drawing/2014/main" id="{92E9A316-7AEB-6B5D-CE38-021F40E79E5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063"/>
          <a:stretch/>
        </p:blipFill>
        <p:spPr>
          <a:xfrm>
            <a:off x="10028643" y="2171746"/>
            <a:ext cx="1967044" cy="1339463"/>
          </a:xfrm>
          <a:prstGeom prst="rect">
            <a:avLst/>
          </a:prstGeom>
        </p:spPr>
      </p:pic>
      <p:pic>
        <p:nvPicPr>
          <p:cNvPr id="16" name="Image 15" descr="Une image contenant texte&#10;&#10;Description générée automatiquement">
            <a:extLst>
              <a:ext uri="{FF2B5EF4-FFF2-40B4-BE49-F238E27FC236}">
                <a16:creationId xmlns:a16="http://schemas.microsoft.com/office/drawing/2014/main" id="{0230B2CA-2AF9-9F72-1625-9196922E0EB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223"/>
          <a:stretch/>
        </p:blipFill>
        <p:spPr>
          <a:xfrm>
            <a:off x="10033506" y="5014265"/>
            <a:ext cx="1993230" cy="1363917"/>
          </a:xfrm>
          <a:prstGeom prst="rect">
            <a:avLst/>
          </a:prstGeom>
        </p:spPr>
      </p:pic>
      <p:pic>
        <p:nvPicPr>
          <p:cNvPr id="18" name="Image 17" descr="Une image contenant texte&#10;&#10;Description générée automatiquement">
            <a:extLst>
              <a:ext uri="{FF2B5EF4-FFF2-40B4-BE49-F238E27FC236}">
                <a16:creationId xmlns:a16="http://schemas.microsoft.com/office/drawing/2014/main" id="{9292FCB0-AC0A-F527-AE8B-E9DBD1CC937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43" r="33680"/>
          <a:stretch/>
        </p:blipFill>
        <p:spPr>
          <a:xfrm>
            <a:off x="10033506" y="3593005"/>
            <a:ext cx="1957046" cy="1339157"/>
          </a:xfrm>
          <a:prstGeom prst="rect">
            <a:avLst/>
          </a:prstGeom>
        </p:spPr>
      </p:pic>
      <p:pic>
        <p:nvPicPr>
          <p:cNvPr id="20" name="Image 19" descr="Une image contenant personne&#10;&#10;Description générée automatiquement">
            <a:extLst>
              <a:ext uri="{FF2B5EF4-FFF2-40B4-BE49-F238E27FC236}">
                <a16:creationId xmlns:a16="http://schemas.microsoft.com/office/drawing/2014/main" id="{2AC7CA46-345D-0826-5043-D20D1CFB938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988" y="2286941"/>
            <a:ext cx="3999074" cy="2645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309714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3258" y="378453"/>
            <a:ext cx="9517419" cy="900000"/>
          </a:xfrm>
        </p:spPr>
        <p:txBody>
          <a:bodyPr/>
          <a:lstStyle/>
          <a:p>
            <a:r>
              <a:rPr lang="en-GB" dirty="0"/>
              <a:t>Conclusion</a:t>
            </a:r>
            <a:br>
              <a:rPr lang="en-GB" dirty="0"/>
            </a:br>
            <a:r>
              <a:rPr lang="en-GB" dirty="0">
                <a:solidFill>
                  <a:srgbClr val="999999"/>
                </a:solidFill>
              </a:rPr>
              <a:t>Introduction |</a:t>
            </a:r>
            <a:r>
              <a:rPr lang="en-GB" dirty="0">
                <a:solidFill>
                  <a:srgbClr val="82BD1C"/>
                </a:solidFill>
              </a:rPr>
              <a:t> </a:t>
            </a:r>
            <a:r>
              <a:rPr lang="en-GB" dirty="0">
                <a:solidFill>
                  <a:schemeClr val="bg2">
                    <a:lumMod val="65000"/>
                  </a:schemeClr>
                </a:solidFill>
              </a:rPr>
              <a:t>MTL</a:t>
            </a:r>
            <a:r>
              <a:rPr lang="en-GB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en-GB" dirty="0">
                <a:solidFill>
                  <a:srgbClr val="999999"/>
                </a:solidFill>
              </a:rPr>
              <a:t>| </a:t>
            </a:r>
            <a:r>
              <a:rPr lang="en-GB" dirty="0">
                <a:solidFill>
                  <a:schemeClr val="bg2">
                    <a:lumMod val="65000"/>
                  </a:schemeClr>
                </a:solidFill>
              </a:rPr>
              <a:t>Supervised vs Unsupervised </a:t>
            </a:r>
            <a:r>
              <a:rPr lang="en-GB" dirty="0">
                <a:solidFill>
                  <a:srgbClr val="999999"/>
                </a:solidFill>
              </a:rPr>
              <a:t>| Results | </a:t>
            </a:r>
            <a:r>
              <a:rPr lang="en-GB" dirty="0" err="1">
                <a:solidFill>
                  <a:srgbClr val="999999"/>
                </a:solidFill>
              </a:rPr>
              <a:t>Mediapipe</a:t>
            </a:r>
            <a:r>
              <a:rPr lang="en-GB" dirty="0">
                <a:solidFill>
                  <a:srgbClr val="999999"/>
                </a:solidFill>
              </a:rPr>
              <a:t> | New Algorithm | Metrics | </a:t>
            </a:r>
            <a:r>
              <a:rPr lang="en-GB" dirty="0">
                <a:solidFill>
                  <a:srgbClr val="82BD1C"/>
                </a:solidFill>
              </a:rPr>
              <a:t>Conclusion</a:t>
            </a:r>
            <a:r>
              <a:rPr lang="en-GB" dirty="0">
                <a:solidFill>
                  <a:srgbClr val="999999"/>
                </a:solidFill>
              </a:rPr>
              <a:t> | Bibliograph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1C1CE0-4435-42AA-82F5-2BFBD918BAAB}" type="datetime1">
              <a:rPr lang="de-DE" noProof="0" smtClean="0"/>
              <a:t>24.04.22</a:t>
            </a:fld>
            <a:endParaRPr lang="de-CH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CH"/>
              <a:t>Slide </a:t>
            </a:r>
            <a:fld id="{5ACA52AF-F19D-405C-AD5F-7D94B96A5CC3}" type="slidenum">
              <a:rPr lang="de-CH" smtClean="0"/>
              <a:pPr/>
              <a:t>17</a:t>
            </a:fld>
            <a:endParaRPr lang="de-CH" dirty="0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00423111-69C2-08B0-E253-311A169CA5BE}"/>
              </a:ext>
            </a:extLst>
          </p:cNvPr>
          <p:cNvSpPr txBox="1"/>
          <p:nvPr/>
        </p:nvSpPr>
        <p:spPr>
          <a:xfrm>
            <a:off x="672322" y="1794021"/>
            <a:ext cx="657898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ntinue to focus on two approach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ig unsupervised learning deep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mprove former algorithm based on Hidden Markov models or come up with a new neural Network if we do not succeed in improving it.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B780579-56F1-3534-F220-C86C3890DBDB}"/>
              </a:ext>
            </a:extLst>
          </p:cNvPr>
          <p:cNvSpPr txBox="1"/>
          <p:nvPr/>
        </p:nvSpPr>
        <p:spPr>
          <a:xfrm>
            <a:off x="573460" y="4203458"/>
            <a:ext cx="725711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ynchronization between algorithm ( 15 Hz ) and glasses ( 25 Hz 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nderstanding clust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mbine the data and hand tracking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FB8A8CBB-7994-536B-F0F6-0F562D7D2972}"/>
              </a:ext>
            </a:extLst>
          </p:cNvPr>
          <p:cNvSpPr txBox="1"/>
          <p:nvPr/>
        </p:nvSpPr>
        <p:spPr>
          <a:xfrm>
            <a:off x="573460" y="1361881"/>
            <a:ext cx="609858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CH" b="1" dirty="0"/>
              <a:t>Future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7F923433-EE44-C021-7815-73BFACEB81D8}"/>
              </a:ext>
            </a:extLst>
          </p:cNvPr>
          <p:cNvSpPr txBox="1"/>
          <p:nvPr/>
        </p:nvSpPr>
        <p:spPr>
          <a:xfrm>
            <a:off x="672322" y="3453050"/>
            <a:ext cx="19159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indent="0">
              <a:buNone/>
            </a:pPr>
            <a:r>
              <a:rPr lang="de-CH" b="1" dirty="0"/>
              <a:t>Possible </a:t>
            </a:r>
            <a:r>
              <a:rPr lang="de-CH" b="1" dirty="0" err="1"/>
              <a:t>issues</a:t>
            </a:r>
            <a:endParaRPr lang="de-CH" b="1" dirty="0"/>
          </a:p>
        </p:txBody>
      </p:sp>
    </p:spTree>
    <p:extLst>
      <p:ext uri="{BB962C8B-B14F-4D97-AF65-F5344CB8AC3E}">
        <p14:creationId xmlns:p14="http://schemas.microsoft.com/office/powerpoint/2010/main" val="345888597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3258" y="378453"/>
            <a:ext cx="9517419" cy="900000"/>
          </a:xfrm>
        </p:spPr>
        <p:txBody>
          <a:bodyPr/>
          <a:lstStyle/>
          <a:p>
            <a:r>
              <a:rPr lang="en-GB" dirty="0"/>
              <a:t>Bibliography</a:t>
            </a:r>
            <a:br>
              <a:rPr lang="en-GB" dirty="0"/>
            </a:br>
            <a:r>
              <a:rPr lang="en-GB" dirty="0">
                <a:solidFill>
                  <a:srgbClr val="999999"/>
                </a:solidFill>
              </a:rPr>
              <a:t>Introduction |</a:t>
            </a:r>
            <a:r>
              <a:rPr lang="en-GB" dirty="0">
                <a:solidFill>
                  <a:srgbClr val="82BD1C"/>
                </a:solidFill>
              </a:rPr>
              <a:t> </a:t>
            </a:r>
            <a:r>
              <a:rPr lang="en-GB" dirty="0">
                <a:solidFill>
                  <a:schemeClr val="bg2">
                    <a:lumMod val="65000"/>
                  </a:schemeClr>
                </a:solidFill>
              </a:rPr>
              <a:t>MTL</a:t>
            </a:r>
            <a:r>
              <a:rPr lang="en-GB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en-GB" dirty="0">
                <a:solidFill>
                  <a:srgbClr val="999999"/>
                </a:solidFill>
              </a:rPr>
              <a:t>| </a:t>
            </a:r>
            <a:r>
              <a:rPr lang="en-GB" dirty="0">
                <a:solidFill>
                  <a:schemeClr val="bg2">
                    <a:lumMod val="65000"/>
                  </a:schemeClr>
                </a:solidFill>
              </a:rPr>
              <a:t>Supervised vs Unsupervised </a:t>
            </a:r>
            <a:r>
              <a:rPr lang="en-GB" dirty="0">
                <a:solidFill>
                  <a:srgbClr val="999999"/>
                </a:solidFill>
              </a:rPr>
              <a:t>| Results | </a:t>
            </a:r>
            <a:r>
              <a:rPr lang="en-GB" dirty="0" err="1">
                <a:solidFill>
                  <a:srgbClr val="999999"/>
                </a:solidFill>
              </a:rPr>
              <a:t>Mediapipe</a:t>
            </a:r>
            <a:r>
              <a:rPr lang="en-GB" dirty="0">
                <a:solidFill>
                  <a:srgbClr val="999999"/>
                </a:solidFill>
              </a:rPr>
              <a:t> | New Algorithm | Metrics | Conclusion | </a:t>
            </a:r>
            <a:r>
              <a:rPr lang="en-GB" dirty="0">
                <a:solidFill>
                  <a:srgbClr val="82BD1C"/>
                </a:solidFill>
              </a:rPr>
              <a:t>Bibliograph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1C1CE0-4435-42AA-82F5-2BFBD918BAAB}" type="datetime1">
              <a:rPr lang="de-DE" noProof="0" smtClean="0"/>
              <a:t>24.04.22</a:t>
            </a:fld>
            <a:endParaRPr lang="de-CH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CH"/>
              <a:t>Slide </a:t>
            </a:r>
            <a:fld id="{5ACA52AF-F19D-405C-AD5F-7D94B96A5CC3}" type="slidenum">
              <a:rPr lang="de-CH" smtClean="0"/>
              <a:pPr/>
              <a:t>18</a:t>
            </a:fld>
            <a:endParaRPr lang="de-CH" dirty="0"/>
          </a:p>
        </p:txBody>
      </p:sp>
      <p:sp>
        <p:nvSpPr>
          <p:cNvPr id="14" name="Espace réservé du contenu 2">
            <a:extLst>
              <a:ext uri="{FF2B5EF4-FFF2-40B4-BE49-F238E27FC236}">
                <a16:creationId xmlns:a16="http://schemas.microsoft.com/office/drawing/2014/main" id="{3FA86620-C59A-BA02-D40D-FBDB124FA2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174" y="1741028"/>
            <a:ext cx="10691265" cy="3636088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dirty="0">
                <a:hlinkClick r:id="rId2"/>
              </a:rPr>
              <a:t>https://ruder.io/multi-task/index.html#fn3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>
                <a:hlinkClick r:id="rId2"/>
              </a:rPr>
              <a:t>https://lakshaysuri.wordpress.com/2017/03/19/machine-learning-supervised-vs-unsupervised-learning/</a:t>
            </a:r>
            <a:endParaRPr lang="en-US" dirty="0"/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https://</a:t>
            </a:r>
            <a:r>
              <a:rPr lang="en-US" dirty="0" err="1"/>
              <a:t>fr.wikipedia.org</a:t>
            </a:r>
            <a:r>
              <a:rPr lang="en-US" dirty="0"/>
              <a:t>/wiki/Silhouette_(clustering)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https://</a:t>
            </a:r>
            <a:r>
              <a:rPr lang="en-US" dirty="0" err="1"/>
              <a:t>google.github.io</a:t>
            </a:r>
            <a:r>
              <a:rPr lang="en-US" dirty="0"/>
              <a:t>/</a:t>
            </a:r>
            <a:r>
              <a:rPr lang="en-US" dirty="0" err="1"/>
              <a:t>mediapipe</a:t>
            </a:r>
            <a:r>
              <a:rPr lang="en-US" dirty="0"/>
              <a:t>/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>
                <a:hlinkClick r:id="rId3"/>
              </a:rPr>
              <a:t>https://imotions.com/blog/10-terms-metrics-eye-tracking/</a:t>
            </a:r>
            <a:endParaRPr lang="en-US" dirty="0"/>
          </a:p>
          <a:p>
            <a:pPr marL="457200" indent="-457200">
              <a:buFont typeface="+mj-lt"/>
              <a:buAutoNum type="arabicPeriod"/>
            </a:pPr>
            <a:r>
              <a:rPr lang="fr-CH" dirty="0"/>
              <a:t>Gaze Comes in Handy: </a:t>
            </a:r>
            <a:r>
              <a:rPr lang="fr-CH" dirty="0" err="1"/>
              <a:t>Predicting</a:t>
            </a:r>
            <a:r>
              <a:rPr lang="fr-CH" dirty="0"/>
              <a:t> and </a:t>
            </a:r>
            <a:r>
              <a:rPr lang="fr-CH" dirty="0" err="1"/>
              <a:t>Preventing</a:t>
            </a:r>
            <a:r>
              <a:rPr lang="fr-CH" dirty="0"/>
              <a:t> </a:t>
            </a:r>
            <a:r>
              <a:rPr lang="fr-CH" dirty="0" err="1"/>
              <a:t>Erroneous</a:t>
            </a:r>
            <a:r>
              <a:rPr lang="fr-CH" dirty="0"/>
              <a:t> Hand Actions in AR-</a:t>
            </a:r>
            <a:r>
              <a:rPr lang="fr-CH" dirty="0" err="1"/>
              <a:t>Supported</a:t>
            </a:r>
            <a:r>
              <a:rPr lang="fr-CH" dirty="0"/>
              <a:t> Manual </a:t>
            </a:r>
            <a:r>
              <a:rPr lang="fr-CH" dirty="0" err="1"/>
              <a:t>Tasks</a:t>
            </a:r>
            <a:r>
              <a:rPr lang="fr-CH" dirty="0"/>
              <a:t> , Julian Wolf </a:t>
            </a:r>
          </a:p>
          <a:p>
            <a:pPr marL="457200" indent="-457200">
              <a:buFont typeface="+mj-lt"/>
              <a:buAutoNum type="arabicPeriod"/>
            </a:pPr>
            <a:r>
              <a:rPr lang="fr-CH" dirty="0">
                <a:hlinkClick r:id="rId4"/>
              </a:rPr>
              <a:t>https://www.dreamstime.com/object-form-geometric-part-angle-degrees-expert-hand-professional-to-take-measurements-calculate-right-image168287546</a:t>
            </a:r>
            <a:endParaRPr lang="fr-CH" dirty="0"/>
          </a:p>
          <a:p>
            <a:pPr marL="457200" indent="-457200">
              <a:buFont typeface="+mj-lt"/>
              <a:buAutoNum type="arabicPeriod"/>
            </a:pPr>
            <a:r>
              <a:rPr lang="fr-CH" dirty="0" err="1"/>
              <a:t>Development</a:t>
            </a:r>
            <a:r>
              <a:rPr lang="fr-CH" dirty="0"/>
              <a:t> of a </a:t>
            </a:r>
            <a:r>
              <a:rPr lang="fr-CH" dirty="0" err="1"/>
              <a:t>Peripheral</a:t>
            </a:r>
            <a:r>
              <a:rPr lang="fr-CH" dirty="0"/>
              <a:t> Vision </a:t>
            </a:r>
            <a:r>
              <a:rPr lang="fr-CH" dirty="0" err="1"/>
              <a:t>Based</a:t>
            </a:r>
            <a:r>
              <a:rPr lang="fr-CH" dirty="0"/>
              <a:t> </a:t>
            </a:r>
            <a:r>
              <a:rPr lang="fr-CH" dirty="0" err="1"/>
              <a:t>Approach</a:t>
            </a:r>
            <a:r>
              <a:rPr lang="fr-CH" dirty="0"/>
              <a:t> to Human </a:t>
            </a:r>
            <a:r>
              <a:rPr lang="fr-CH" dirty="0" err="1"/>
              <a:t>Task</a:t>
            </a:r>
            <a:r>
              <a:rPr lang="fr-CH" dirty="0"/>
              <a:t> Classification, Thomas </a:t>
            </a:r>
            <a:r>
              <a:rPr lang="fr-CH" dirty="0" err="1"/>
              <a:t>Kreiner</a:t>
            </a:r>
            <a:r>
              <a:rPr lang="fr-CH" dirty="0"/>
              <a:t> </a:t>
            </a:r>
          </a:p>
          <a:p>
            <a:pPr marL="457200" indent="-457200">
              <a:buFont typeface="+mj-lt"/>
              <a:buAutoNum type="arabicPeriod"/>
            </a:pPr>
            <a:endParaRPr lang="fr-CH" dirty="0"/>
          </a:p>
          <a:p>
            <a:pPr marL="457200" indent="-457200">
              <a:buFont typeface="+mj-lt"/>
              <a:buAutoNum type="arabicPeriod"/>
            </a:pPr>
            <a:endParaRPr lang="fr-CH" dirty="0"/>
          </a:p>
          <a:p>
            <a:pPr marL="457200" indent="-457200">
              <a:buFont typeface="+mj-lt"/>
              <a:buAutoNum type="arabicPeriod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523929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2A71FBB-3009-40AD-979B-DB4E5F59289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Felix Wang</a:t>
            </a:r>
          </a:p>
          <a:p>
            <a:r>
              <a:rPr lang="de-DE" dirty="0" err="1"/>
              <a:t>Phd</a:t>
            </a:r>
            <a:r>
              <a:rPr lang="de-DE" dirty="0"/>
              <a:t> Student</a:t>
            </a:r>
          </a:p>
          <a:p>
            <a:r>
              <a:rPr lang="de-DE" dirty="0" err="1"/>
              <a:t>wangfe@ethz.ch</a:t>
            </a:r>
            <a:endParaRPr lang="de-DE" dirty="0"/>
          </a:p>
          <a:p>
            <a:r>
              <a:rPr lang="de-DE" dirty="0"/>
              <a:t>ETH Zürich</a:t>
            </a:r>
          </a:p>
          <a:p>
            <a:endParaRPr lang="de-DE" dirty="0"/>
          </a:p>
          <a:p>
            <a:r>
              <a:rPr lang="de-DE" dirty="0" err="1"/>
              <a:t>Product</a:t>
            </a:r>
            <a:r>
              <a:rPr lang="de-DE" dirty="0"/>
              <a:t> Development Group</a:t>
            </a:r>
          </a:p>
          <a:p>
            <a:r>
              <a:rPr lang="de-DE" dirty="0"/>
              <a:t>LEE O10</a:t>
            </a:r>
          </a:p>
          <a:p>
            <a:r>
              <a:rPr lang="fr-CH" dirty="0" err="1"/>
              <a:t>Leonhardstrasse</a:t>
            </a:r>
            <a:r>
              <a:rPr lang="fr-CH" dirty="0"/>
              <a:t> 21</a:t>
            </a:r>
          </a:p>
          <a:p>
            <a:r>
              <a:rPr lang="fr-CH" dirty="0"/>
              <a:t>8092 Zürich</a:t>
            </a:r>
            <a:endParaRPr lang="de-DE" dirty="0"/>
          </a:p>
        </p:txBody>
      </p:sp>
      <p:sp>
        <p:nvSpPr>
          <p:cNvPr id="4" name="Slide Number Placeholder 4">
            <a:extLst>
              <a:ext uri="{FF2B5EF4-FFF2-40B4-BE49-F238E27FC236}">
                <a16:creationId xmlns:a16="http://schemas.microsoft.com/office/drawing/2014/main" id="{13B51806-CD5A-83C1-5E85-CDC5AF4FE841}"/>
              </a:ext>
            </a:extLst>
          </p:cNvPr>
          <p:cNvSpPr txBox="1">
            <a:spLocks/>
          </p:cNvSpPr>
          <p:nvPr/>
        </p:nvSpPr>
        <p:spPr>
          <a:xfrm>
            <a:off x="11218454" y="6501553"/>
            <a:ext cx="483415" cy="1543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714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00" indent="-2714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5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de-CH" dirty="0"/>
              <a:t>Slide </a:t>
            </a:r>
            <a:fld id="{5ACA52AF-F19D-405C-AD5F-7D94B96A5CC3}" type="slidenum">
              <a:rPr lang="de-CH" smtClean="0"/>
              <a:pPr fontAlgn="auto">
                <a:spcAft>
                  <a:spcPts val="0"/>
                </a:spcAft>
              </a:pPr>
              <a:t>19</a:t>
            </a:fld>
            <a:endParaRPr lang="de-CH" dirty="0"/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1FD60B9E-0A65-218C-A644-452C8F49DF14}"/>
              </a:ext>
            </a:extLst>
          </p:cNvPr>
          <p:cNvSpPr txBox="1"/>
          <p:nvPr/>
        </p:nvSpPr>
        <p:spPr>
          <a:xfrm>
            <a:off x="10456327" y="6455834"/>
            <a:ext cx="593963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fld id="{F56C0C51-6CFF-4021-A403-021ED423316C}" type="datetime1">
              <a:rPr lang="de-DE" sz="700" noProof="0" smtClean="0"/>
              <a:pPr/>
              <a:t>24.04.22</a:t>
            </a:fld>
            <a:endParaRPr lang="en-US" sz="700" dirty="0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8EDCAED5-46AC-7283-10B9-8CB581C24BF2}"/>
              </a:ext>
            </a:extLst>
          </p:cNvPr>
          <p:cNvSpPr txBox="1">
            <a:spLocks/>
          </p:cNvSpPr>
          <p:nvPr/>
        </p:nvSpPr>
        <p:spPr>
          <a:xfrm>
            <a:off x="4888163" y="6451724"/>
            <a:ext cx="5400000" cy="216000"/>
          </a:xfrm>
          <a:prstGeom prst="rect">
            <a:avLst/>
          </a:prstGeom>
        </p:spPr>
        <p:txBody>
          <a:bodyPr/>
          <a:lstStyle>
            <a:defPPr>
              <a:defRPr lang="de-CH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151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303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454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605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5755" algn="l" defTabSz="914303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2907" algn="l" defTabSz="914303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058" algn="l" defTabSz="914303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209" algn="l" defTabSz="914303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r"/>
            <a:r>
              <a:rPr lang="en-US" sz="800" dirty="0"/>
              <a:t>Footer</a:t>
            </a:r>
            <a:endParaRPr lang="de-CH" sz="800" dirty="0"/>
          </a:p>
        </p:txBody>
      </p:sp>
    </p:spTree>
    <p:extLst>
      <p:ext uri="{BB962C8B-B14F-4D97-AF65-F5344CB8AC3E}">
        <p14:creationId xmlns:p14="http://schemas.microsoft.com/office/powerpoint/2010/main" val="39554605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50C632-3D7D-415B-A188-2F83DE747823}" type="datetime1">
              <a:rPr lang="de-DE" noProof="0" smtClean="0"/>
              <a:t>24.04.22</a:t>
            </a:fld>
            <a:endParaRPr lang="de-CH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CH"/>
              <a:t>Slide </a:t>
            </a:r>
            <a:fld id="{5ACA52AF-F19D-405C-AD5F-7D94B96A5CC3}" type="slidenum">
              <a:rPr lang="de-CH" smtClean="0"/>
              <a:pPr/>
              <a:t>2</a:t>
            </a:fld>
            <a:endParaRPr lang="de-CH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3A64FAD-0F10-3EB4-0716-BBA160C9273F}"/>
              </a:ext>
            </a:extLst>
          </p:cNvPr>
          <p:cNvSpPr txBox="1">
            <a:spLocks/>
          </p:cNvSpPr>
          <p:nvPr/>
        </p:nvSpPr>
        <p:spPr>
          <a:xfrm>
            <a:off x="333258" y="343320"/>
            <a:ext cx="9517419" cy="90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GB" dirty="0"/>
              <a:t>Introduction</a:t>
            </a:r>
            <a:br>
              <a:rPr lang="en-GB" dirty="0"/>
            </a:br>
            <a:r>
              <a:rPr lang="en-GB" dirty="0">
                <a:solidFill>
                  <a:srgbClr val="82BD1C"/>
                </a:solidFill>
              </a:rPr>
              <a:t>Introduction</a:t>
            </a:r>
            <a:r>
              <a:rPr lang="en-GB" dirty="0">
                <a:solidFill>
                  <a:srgbClr val="999999"/>
                </a:solidFill>
              </a:rPr>
              <a:t> |</a:t>
            </a:r>
            <a:r>
              <a:rPr lang="en-GB" dirty="0">
                <a:solidFill>
                  <a:srgbClr val="82BD1C"/>
                </a:solidFill>
              </a:rPr>
              <a:t> </a:t>
            </a:r>
            <a:r>
              <a:rPr lang="en-GB" dirty="0">
                <a:solidFill>
                  <a:srgbClr val="999999"/>
                </a:solidFill>
              </a:rPr>
              <a:t>MTL</a:t>
            </a:r>
            <a:r>
              <a:rPr lang="en-GB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en-GB" dirty="0">
                <a:solidFill>
                  <a:srgbClr val="999999"/>
                </a:solidFill>
              </a:rPr>
              <a:t>| </a:t>
            </a:r>
            <a:r>
              <a:rPr lang="en-GB" dirty="0">
                <a:solidFill>
                  <a:schemeClr val="bg2">
                    <a:lumMod val="65000"/>
                  </a:schemeClr>
                </a:solidFill>
              </a:rPr>
              <a:t>Supervised vs Unsupervised </a:t>
            </a:r>
            <a:r>
              <a:rPr lang="en-GB" dirty="0">
                <a:solidFill>
                  <a:srgbClr val="999999"/>
                </a:solidFill>
              </a:rPr>
              <a:t>| Results | </a:t>
            </a:r>
            <a:r>
              <a:rPr lang="en-GB" dirty="0" err="1">
                <a:solidFill>
                  <a:srgbClr val="999999"/>
                </a:solidFill>
              </a:rPr>
              <a:t>Mediapipe</a:t>
            </a:r>
            <a:r>
              <a:rPr lang="en-GB" dirty="0">
                <a:solidFill>
                  <a:srgbClr val="999999"/>
                </a:solidFill>
              </a:rPr>
              <a:t> | New Algorithm | Metrics | Conclusion | Bibliography</a:t>
            </a:r>
          </a:p>
        </p:txBody>
      </p:sp>
      <p:pic>
        <p:nvPicPr>
          <p:cNvPr id="13" name="Image 12" descr="Une image contenant texte, périphérique&#10;&#10;Description générée automatiquement">
            <a:extLst>
              <a:ext uri="{FF2B5EF4-FFF2-40B4-BE49-F238E27FC236}">
                <a16:creationId xmlns:a16="http://schemas.microsoft.com/office/drawing/2014/main" id="{38E8A453-8C21-B111-DF41-4C08393F30F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4276" y="1671785"/>
            <a:ext cx="4828540" cy="4107264"/>
          </a:xfrm>
          <a:prstGeom prst="rect">
            <a:avLst/>
          </a:prstGeom>
        </p:spPr>
      </p:pic>
      <p:pic>
        <p:nvPicPr>
          <p:cNvPr id="15" name="Image 14" descr="Une image contenant texte, horloge&#10;&#10;Description générée automatiquement">
            <a:extLst>
              <a:ext uri="{FF2B5EF4-FFF2-40B4-BE49-F238E27FC236}">
                <a16:creationId xmlns:a16="http://schemas.microsoft.com/office/drawing/2014/main" id="{93C30C1D-64C5-AD3E-22CC-7D51A888BC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184" y="1671785"/>
            <a:ext cx="6362502" cy="1834642"/>
          </a:xfrm>
          <a:prstGeom prst="rect">
            <a:avLst/>
          </a:prstGeom>
        </p:spPr>
      </p:pic>
      <p:sp>
        <p:nvSpPr>
          <p:cNvPr id="16" name="ZoneTexte 15">
            <a:extLst>
              <a:ext uri="{FF2B5EF4-FFF2-40B4-BE49-F238E27FC236}">
                <a16:creationId xmlns:a16="http://schemas.microsoft.com/office/drawing/2014/main" id="{B833996F-1A58-47AB-C020-EB873BC577AB}"/>
              </a:ext>
            </a:extLst>
          </p:cNvPr>
          <p:cNvSpPr txBox="1"/>
          <p:nvPr/>
        </p:nvSpPr>
        <p:spPr>
          <a:xfrm>
            <a:off x="675801" y="3985886"/>
            <a:ext cx="419589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ow the model works now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ediction based on previous and current state and an ensemble of probabilities.</a:t>
            </a:r>
          </a:p>
        </p:txBody>
      </p:sp>
    </p:spTree>
    <p:extLst>
      <p:ext uri="{BB962C8B-B14F-4D97-AF65-F5344CB8AC3E}">
        <p14:creationId xmlns:p14="http://schemas.microsoft.com/office/powerpoint/2010/main" val="2369747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3258" y="378453"/>
            <a:ext cx="9517419" cy="900000"/>
          </a:xfrm>
        </p:spPr>
        <p:txBody>
          <a:bodyPr/>
          <a:lstStyle/>
          <a:p>
            <a:r>
              <a:rPr lang="en-GB" dirty="0"/>
              <a:t>Example Data</a:t>
            </a:r>
            <a:br>
              <a:rPr lang="en-GB" dirty="0"/>
            </a:br>
            <a:r>
              <a:rPr lang="en-GB" dirty="0">
                <a:solidFill>
                  <a:srgbClr val="999999"/>
                </a:solidFill>
              </a:rPr>
              <a:t>Introduction |</a:t>
            </a:r>
            <a:r>
              <a:rPr lang="en-GB" dirty="0">
                <a:solidFill>
                  <a:srgbClr val="82BD1C"/>
                </a:solidFill>
              </a:rPr>
              <a:t> </a:t>
            </a:r>
            <a:r>
              <a:rPr lang="en-GB" dirty="0">
                <a:solidFill>
                  <a:schemeClr val="bg2">
                    <a:lumMod val="65000"/>
                  </a:schemeClr>
                </a:solidFill>
              </a:rPr>
              <a:t>MTL</a:t>
            </a:r>
            <a:r>
              <a:rPr lang="en-GB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en-GB" dirty="0">
                <a:solidFill>
                  <a:srgbClr val="999999"/>
                </a:solidFill>
              </a:rPr>
              <a:t>| </a:t>
            </a:r>
            <a:r>
              <a:rPr lang="en-GB" dirty="0">
                <a:solidFill>
                  <a:schemeClr val="bg2">
                    <a:lumMod val="65000"/>
                  </a:schemeClr>
                </a:solidFill>
              </a:rPr>
              <a:t>Supervised vs Unsupervised </a:t>
            </a:r>
            <a:r>
              <a:rPr lang="en-GB" dirty="0">
                <a:solidFill>
                  <a:srgbClr val="999999"/>
                </a:solidFill>
              </a:rPr>
              <a:t>| </a:t>
            </a:r>
            <a:r>
              <a:rPr lang="en-GB" dirty="0">
                <a:solidFill>
                  <a:srgbClr val="82BD1C"/>
                </a:solidFill>
              </a:rPr>
              <a:t>Results</a:t>
            </a:r>
            <a:r>
              <a:rPr lang="en-GB" dirty="0">
                <a:solidFill>
                  <a:srgbClr val="999999"/>
                </a:solidFill>
              </a:rPr>
              <a:t> | </a:t>
            </a:r>
            <a:r>
              <a:rPr lang="en-GB" dirty="0" err="1">
                <a:solidFill>
                  <a:srgbClr val="999999"/>
                </a:solidFill>
              </a:rPr>
              <a:t>Mediapipe</a:t>
            </a:r>
            <a:r>
              <a:rPr lang="en-GB" dirty="0">
                <a:solidFill>
                  <a:srgbClr val="999999"/>
                </a:solidFill>
              </a:rPr>
              <a:t> | New Algorithm | Metrics | Conclusion | Bibliograph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1C1CE0-4435-42AA-82F5-2BFBD918BAAB}" type="datetime1">
              <a:rPr lang="de-DE" noProof="0" smtClean="0"/>
              <a:t>24.04.22</a:t>
            </a:fld>
            <a:endParaRPr lang="de-CH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CH"/>
              <a:t>Slide </a:t>
            </a:r>
            <a:fld id="{5ACA52AF-F19D-405C-AD5F-7D94B96A5CC3}" type="slidenum">
              <a:rPr lang="de-CH" smtClean="0"/>
              <a:pPr/>
              <a:t>3</a:t>
            </a:fld>
            <a:endParaRPr lang="de-CH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669F56A-44DE-69F1-7EEA-7DF6B7A27405}"/>
              </a:ext>
            </a:extLst>
          </p:cNvPr>
          <p:cNvSpPr txBox="1"/>
          <p:nvPr/>
        </p:nvSpPr>
        <p:spPr>
          <a:xfrm>
            <a:off x="173899" y="1534255"/>
            <a:ext cx="3705342" cy="4616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H" sz="1400" b="1" dirty="0"/>
              <a:t>Cap Off </a:t>
            </a:r>
            <a:r>
              <a:rPr lang="fr-CH" sz="1400" dirty="0"/>
              <a:t>- Removal of the </a:t>
            </a:r>
            <a:r>
              <a:rPr lang="fr-CH" sz="1400" dirty="0" err="1"/>
              <a:t>pen</a:t>
            </a:r>
            <a:r>
              <a:rPr lang="fr-CH" sz="1400" dirty="0"/>
              <a:t> cap. </a:t>
            </a:r>
          </a:p>
          <a:p>
            <a:r>
              <a:rPr lang="fr-CH" sz="1400" dirty="0" err="1"/>
              <a:t>Significant</a:t>
            </a:r>
            <a:r>
              <a:rPr lang="fr-CH" sz="1400" dirty="0"/>
              <a:t> Area of </a:t>
            </a:r>
            <a:r>
              <a:rPr lang="fr-CH" sz="1400" dirty="0" err="1"/>
              <a:t>interest</a:t>
            </a:r>
            <a:r>
              <a:rPr lang="fr-CH" sz="1400" dirty="0"/>
              <a:t> ( AOI ): Cap, Pen </a:t>
            </a:r>
          </a:p>
          <a:p>
            <a:r>
              <a:rPr lang="fr-CH" sz="1400" b="1" dirty="0"/>
              <a:t>Apply Tip </a:t>
            </a:r>
            <a:r>
              <a:rPr lang="fr-CH" sz="1400" dirty="0"/>
              <a:t>- </a:t>
            </a:r>
            <a:r>
              <a:rPr lang="fr-CH" sz="1400" dirty="0" err="1"/>
              <a:t>Applying</a:t>
            </a:r>
            <a:r>
              <a:rPr lang="fr-CH" sz="1400" dirty="0"/>
              <a:t> the </a:t>
            </a:r>
            <a:r>
              <a:rPr lang="fr-CH" sz="1400" dirty="0" err="1"/>
              <a:t>disposable</a:t>
            </a:r>
            <a:r>
              <a:rPr lang="fr-CH" sz="1400" dirty="0"/>
              <a:t> </a:t>
            </a:r>
            <a:r>
              <a:rPr lang="fr-CH" sz="1400" dirty="0" err="1"/>
              <a:t>needle</a:t>
            </a:r>
            <a:r>
              <a:rPr lang="fr-CH" sz="1400" dirty="0"/>
              <a:t> to the </a:t>
            </a:r>
            <a:r>
              <a:rPr lang="fr-CH" sz="1400" dirty="0" err="1"/>
              <a:t>pen</a:t>
            </a:r>
            <a:r>
              <a:rPr lang="fr-CH" sz="1400" dirty="0"/>
              <a:t>. </a:t>
            </a:r>
          </a:p>
          <a:p>
            <a:r>
              <a:rPr lang="fr-CH" sz="1400" dirty="0" err="1"/>
              <a:t>Significant</a:t>
            </a:r>
            <a:r>
              <a:rPr lang="fr-CH" sz="1400" dirty="0"/>
              <a:t> </a:t>
            </a:r>
            <a:r>
              <a:rPr lang="fr-CH" sz="1400" dirty="0" err="1"/>
              <a:t>AOIs</a:t>
            </a:r>
            <a:r>
              <a:rPr lang="fr-CH" sz="1400" dirty="0"/>
              <a:t>: </a:t>
            </a:r>
            <a:r>
              <a:rPr lang="fr-CH" sz="1400" dirty="0" err="1"/>
              <a:t>Safety</a:t>
            </a:r>
            <a:r>
              <a:rPr lang="fr-CH" sz="1400" dirty="0"/>
              <a:t>, Tip, Pen </a:t>
            </a:r>
          </a:p>
          <a:p>
            <a:r>
              <a:rPr lang="fr-CH" sz="1400" b="1" dirty="0"/>
              <a:t>Setting </a:t>
            </a:r>
            <a:r>
              <a:rPr lang="fr-CH" sz="1400" b="1" dirty="0" err="1"/>
              <a:t>Units</a:t>
            </a:r>
            <a:r>
              <a:rPr lang="fr-CH" sz="1400" b="1" dirty="0"/>
              <a:t> </a:t>
            </a:r>
            <a:r>
              <a:rPr lang="fr-CH" sz="1400" dirty="0"/>
              <a:t>- Setting or checking the </a:t>
            </a:r>
            <a:r>
              <a:rPr lang="fr-CH" sz="1400" dirty="0" err="1"/>
              <a:t>desired</a:t>
            </a:r>
            <a:r>
              <a:rPr lang="fr-CH" sz="1400" dirty="0"/>
              <a:t> </a:t>
            </a:r>
            <a:r>
              <a:rPr lang="fr-CH" sz="1400" dirty="0" err="1"/>
              <a:t>number</a:t>
            </a:r>
            <a:r>
              <a:rPr lang="fr-CH" sz="1400" dirty="0"/>
              <a:t> of </a:t>
            </a:r>
            <a:r>
              <a:rPr lang="fr-CH" sz="1400" dirty="0" err="1"/>
              <a:t>units</a:t>
            </a:r>
            <a:r>
              <a:rPr lang="fr-CH" sz="1400" dirty="0"/>
              <a:t> </a:t>
            </a:r>
            <a:r>
              <a:rPr lang="fr-CH" sz="1400" dirty="0" err="1"/>
              <a:t>using</a:t>
            </a:r>
            <a:r>
              <a:rPr lang="fr-CH" sz="1400" dirty="0"/>
              <a:t> the dosage </a:t>
            </a:r>
            <a:r>
              <a:rPr lang="fr-CH" sz="1400" dirty="0" err="1"/>
              <a:t>knob</a:t>
            </a:r>
            <a:r>
              <a:rPr lang="fr-CH" sz="1400" dirty="0"/>
              <a:t>.</a:t>
            </a:r>
            <a:br>
              <a:rPr lang="fr-CH" sz="1400" dirty="0"/>
            </a:br>
            <a:r>
              <a:rPr lang="fr-CH" sz="1400" dirty="0" err="1"/>
              <a:t>Significant</a:t>
            </a:r>
            <a:r>
              <a:rPr lang="fr-CH" sz="1400" dirty="0"/>
              <a:t> </a:t>
            </a:r>
            <a:r>
              <a:rPr lang="fr-CH" sz="1400" dirty="0" err="1"/>
              <a:t>AOIs</a:t>
            </a:r>
            <a:r>
              <a:rPr lang="fr-CH" sz="1400" dirty="0"/>
              <a:t>: Gauge </a:t>
            </a:r>
          </a:p>
          <a:p>
            <a:r>
              <a:rPr lang="fr-CH" sz="1400" b="1" dirty="0"/>
              <a:t>Priming</a:t>
            </a:r>
            <a:r>
              <a:rPr lang="fr-CH" sz="1400" dirty="0"/>
              <a:t>-</a:t>
            </a:r>
            <a:r>
              <a:rPr lang="fr-CH" sz="1400" dirty="0" err="1"/>
              <a:t>Testing</a:t>
            </a:r>
            <a:r>
              <a:rPr lang="fr-CH" sz="1400" dirty="0"/>
              <a:t> the </a:t>
            </a:r>
            <a:r>
              <a:rPr lang="fr-CH" sz="1400" dirty="0" err="1"/>
              <a:t>function</a:t>
            </a:r>
            <a:r>
              <a:rPr lang="fr-CH" sz="1400" dirty="0"/>
              <a:t> of the </a:t>
            </a:r>
            <a:r>
              <a:rPr lang="fr-CH" sz="1400" dirty="0" err="1"/>
              <a:t>needle</a:t>
            </a:r>
            <a:r>
              <a:rPr lang="fr-CH" sz="1400" dirty="0"/>
              <a:t>, </a:t>
            </a:r>
            <a:r>
              <a:rPr lang="fr-CH" sz="1400" dirty="0" err="1"/>
              <a:t>removing</a:t>
            </a:r>
            <a:r>
              <a:rPr lang="fr-CH" sz="1400" dirty="0"/>
              <a:t> </a:t>
            </a:r>
            <a:r>
              <a:rPr lang="fr-CH" sz="1400" dirty="0" err="1"/>
              <a:t>trapped</a:t>
            </a:r>
            <a:r>
              <a:rPr lang="fr-CH" sz="1400" dirty="0"/>
              <a:t> air by holding the </a:t>
            </a:r>
            <a:r>
              <a:rPr lang="fr-CH" sz="1400" dirty="0" err="1"/>
              <a:t>device</a:t>
            </a:r>
            <a:r>
              <a:rPr lang="fr-CH" sz="1400" dirty="0"/>
              <a:t> </a:t>
            </a:r>
            <a:r>
              <a:rPr lang="fr-CH" sz="1400" dirty="0" err="1"/>
              <a:t>upright</a:t>
            </a:r>
            <a:r>
              <a:rPr lang="fr-CH" sz="1400" dirty="0"/>
              <a:t> and releasing 1-2 </a:t>
            </a:r>
            <a:r>
              <a:rPr lang="fr-CH" sz="1400" dirty="0" err="1"/>
              <a:t>units</a:t>
            </a:r>
            <a:r>
              <a:rPr lang="fr-CH" sz="1400" dirty="0"/>
              <a:t>.</a:t>
            </a:r>
            <a:br>
              <a:rPr lang="fr-CH" sz="1400" dirty="0"/>
            </a:br>
            <a:r>
              <a:rPr lang="fr-CH" sz="1400" dirty="0" err="1"/>
              <a:t>Significant</a:t>
            </a:r>
            <a:r>
              <a:rPr lang="fr-CH" sz="1400" dirty="0"/>
              <a:t> </a:t>
            </a:r>
            <a:r>
              <a:rPr lang="fr-CH" sz="1400" dirty="0" err="1"/>
              <a:t>AOIs</a:t>
            </a:r>
            <a:r>
              <a:rPr lang="fr-CH" sz="1400" dirty="0"/>
              <a:t>: Tip, Pen, App </a:t>
            </a:r>
          </a:p>
          <a:p>
            <a:r>
              <a:rPr lang="fr-CH" sz="1400" b="1" dirty="0"/>
              <a:t>Injection </a:t>
            </a:r>
            <a:r>
              <a:rPr lang="fr-CH" sz="1400" dirty="0"/>
              <a:t>- </a:t>
            </a:r>
            <a:r>
              <a:rPr lang="fr-CH" sz="1400" dirty="0" err="1"/>
              <a:t>Placing</a:t>
            </a:r>
            <a:r>
              <a:rPr lang="fr-CH" sz="1400" dirty="0"/>
              <a:t> the </a:t>
            </a:r>
            <a:r>
              <a:rPr lang="fr-CH" sz="1400" dirty="0" err="1"/>
              <a:t>needle</a:t>
            </a:r>
            <a:r>
              <a:rPr lang="fr-CH" sz="1400" dirty="0"/>
              <a:t> </a:t>
            </a:r>
            <a:r>
              <a:rPr lang="fr-CH" sz="1400" dirty="0" err="1"/>
              <a:t>into</a:t>
            </a:r>
            <a:r>
              <a:rPr lang="fr-CH" sz="1400" dirty="0"/>
              <a:t> injection area, </a:t>
            </a:r>
            <a:r>
              <a:rPr lang="fr-CH" sz="1400" dirty="0" err="1"/>
              <a:t>injecting</a:t>
            </a:r>
            <a:r>
              <a:rPr lang="fr-CH" sz="1400" dirty="0"/>
              <a:t> 5-10 </a:t>
            </a:r>
            <a:r>
              <a:rPr lang="fr-CH" sz="1400" dirty="0" err="1"/>
              <a:t>units</a:t>
            </a:r>
            <a:r>
              <a:rPr lang="fr-CH" sz="1400" dirty="0"/>
              <a:t> for 10 seconds. </a:t>
            </a:r>
          </a:p>
          <a:p>
            <a:r>
              <a:rPr lang="fr-CH" sz="1400" dirty="0" err="1"/>
              <a:t>Significant</a:t>
            </a:r>
            <a:r>
              <a:rPr lang="fr-CH" sz="1400" dirty="0"/>
              <a:t> </a:t>
            </a:r>
            <a:r>
              <a:rPr lang="fr-CH" sz="1400" dirty="0" err="1"/>
              <a:t>AOIs</a:t>
            </a:r>
            <a:r>
              <a:rPr lang="fr-CH" sz="1400" dirty="0"/>
              <a:t>: Pad, Tip, App </a:t>
            </a:r>
          </a:p>
          <a:p>
            <a:r>
              <a:rPr lang="fr-CH" sz="1400" b="1" dirty="0" err="1"/>
              <a:t>Remove</a:t>
            </a:r>
            <a:r>
              <a:rPr lang="fr-CH" sz="1400" b="1" dirty="0"/>
              <a:t> Tip </a:t>
            </a:r>
            <a:r>
              <a:rPr lang="fr-CH" sz="1400" dirty="0"/>
              <a:t>- Removal of the </a:t>
            </a:r>
            <a:r>
              <a:rPr lang="fr-CH" sz="1400" dirty="0" err="1"/>
              <a:t>disposable</a:t>
            </a:r>
            <a:r>
              <a:rPr lang="fr-CH" sz="1400" dirty="0"/>
              <a:t> </a:t>
            </a:r>
            <a:r>
              <a:rPr lang="fr-CH" sz="1400" dirty="0" err="1"/>
              <a:t>needle</a:t>
            </a:r>
            <a:r>
              <a:rPr lang="fr-CH" sz="1400" dirty="0"/>
              <a:t> </a:t>
            </a:r>
            <a:r>
              <a:rPr lang="fr-CH" sz="1400" dirty="0" err="1"/>
              <a:t>from</a:t>
            </a:r>
            <a:r>
              <a:rPr lang="fr-CH" sz="1400" dirty="0"/>
              <a:t> the </a:t>
            </a:r>
            <a:r>
              <a:rPr lang="fr-CH" sz="1400" dirty="0" err="1"/>
              <a:t>pen</a:t>
            </a:r>
            <a:r>
              <a:rPr lang="fr-CH" sz="1400" dirty="0"/>
              <a:t>. </a:t>
            </a:r>
          </a:p>
          <a:p>
            <a:r>
              <a:rPr lang="fr-CH" sz="1400" dirty="0" err="1"/>
              <a:t>Significant</a:t>
            </a:r>
            <a:r>
              <a:rPr lang="fr-CH" sz="1400" dirty="0"/>
              <a:t> </a:t>
            </a:r>
            <a:r>
              <a:rPr lang="fr-CH" sz="1400" dirty="0" err="1"/>
              <a:t>AOIs</a:t>
            </a:r>
            <a:r>
              <a:rPr lang="fr-CH" sz="1400" dirty="0"/>
              <a:t>: </a:t>
            </a:r>
            <a:r>
              <a:rPr lang="fr-CH" sz="1400" dirty="0" err="1"/>
              <a:t>Safety</a:t>
            </a:r>
            <a:r>
              <a:rPr lang="fr-CH" sz="1400" dirty="0"/>
              <a:t>, Tip, Pen </a:t>
            </a:r>
          </a:p>
          <a:p>
            <a:r>
              <a:rPr lang="fr-CH" sz="1400" b="1" dirty="0"/>
              <a:t>Cap On </a:t>
            </a:r>
            <a:r>
              <a:rPr lang="fr-CH" sz="1400" dirty="0"/>
              <a:t>- </a:t>
            </a:r>
            <a:r>
              <a:rPr lang="fr-CH" sz="1400" dirty="0" err="1"/>
              <a:t>Applying</a:t>
            </a:r>
            <a:r>
              <a:rPr lang="fr-CH" sz="1400" dirty="0"/>
              <a:t> the Cap to the Pen. </a:t>
            </a:r>
          </a:p>
          <a:p>
            <a:r>
              <a:rPr lang="fr-CH" sz="1400" dirty="0" err="1"/>
              <a:t>Significant</a:t>
            </a:r>
            <a:r>
              <a:rPr lang="fr-CH" sz="1400" dirty="0"/>
              <a:t> </a:t>
            </a:r>
            <a:r>
              <a:rPr lang="fr-CH" sz="1400" dirty="0" err="1"/>
              <a:t>AOIs</a:t>
            </a:r>
            <a:r>
              <a:rPr lang="fr-CH" sz="1400" dirty="0"/>
              <a:t>: Cap, Pen 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6DC61FE3-5734-FBEB-7B0E-15B19553F29F}"/>
              </a:ext>
            </a:extLst>
          </p:cNvPr>
          <p:cNvSpPr txBox="1"/>
          <p:nvPr/>
        </p:nvSpPr>
        <p:spPr>
          <a:xfrm>
            <a:off x="4580766" y="4322835"/>
            <a:ext cx="648767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dirty="0" err="1"/>
              <a:t>Experiments</a:t>
            </a:r>
            <a:r>
              <a:rPr lang="fr-CH" dirty="0"/>
              <a:t> have been </a:t>
            </a:r>
            <a:r>
              <a:rPr lang="fr-CH" dirty="0" err="1"/>
              <a:t>carried</a:t>
            </a:r>
            <a:r>
              <a:rPr lang="fr-CH" dirty="0"/>
              <a:t> out on </a:t>
            </a:r>
            <a:r>
              <a:rPr lang="fr-CH" dirty="0" err="1"/>
              <a:t>several</a:t>
            </a:r>
            <a:r>
              <a:rPr lang="fr-CH" dirty="0"/>
              <a:t> participan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dirty="0" err="1"/>
              <a:t>They</a:t>
            </a:r>
            <a:r>
              <a:rPr lang="fr-CH" dirty="0"/>
              <a:t> </a:t>
            </a:r>
            <a:r>
              <a:rPr lang="fr-CH" dirty="0" err="1"/>
              <a:t>had</a:t>
            </a:r>
            <a:r>
              <a:rPr lang="fr-CH" dirty="0"/>
              <a:t> to </a:t>
            </a:r>
            <a:r>
              <a:rPr lang="fr-CH" dirty="0" err="1"/>
              <a:t>perform</a:t>
            </a:r>
            <a:r>
              <a:rPr lang="fr-CH" dirty="0"/>
              <a:t> 7 </a:t>
            </a:r>
            <a:r>
              <a:rPr lang="fr-CH" dirty="0" err="1"/>
              <a:t>different</a:t>
            </a:r>
            <a:r>
              <a:rPr lang="fr-CH" dirty="0"/>
              <a:t> action.</a:t>
            </a:r>
            <a:endParaRPr lang="en-US" dirty="0"/>
          </a:p>
        </p:txBody>
      </p:sp>
      <p:graphicFrame>
        <p:nvGraphicFramePr>
          <p:cNvPr id="3" name="Tableau 6">
            <a:extLst>
              <a:ext uri="{FF2B5EF4-FFF2-40B4-BE49-F238E27FC236}">
                <a16:creationId xmlns:a16="http://schemas.microsoft.com/office/drawing/2014/main" id="{A58547CD-83C6-8F18-870B-767DC1E03A7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3405838"/>
              </p:ext>
            </p:extLst>
          </p:nvPr>
        </p:nvGraphicFramePr>
        <p:xfrm>
          <a:off x="4871700" y="1873544"/>
          <a:ext cx="6650182" cy="18542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38909">
                  <a:extLst>
                    <a:ext uri="{9D8B030D-6E8A-4147-A177-3AD203B41FA5}">
                      <a16:colId xmlns:a16="http://schemas.microsoft.com/office/drawing/2014/main" val="3992108140"/>
                    </a:ext>
                  </a:extLst>
                </a:gridCol>
                <a:gridCol w="738909">
                  <a:extLst>
                    <a:ext uri="{9D8B030D-6E8A-4147-A177-3AD203B41FA5}">
                      <a16:colId xmlns:a16="http://schemas.microsoft.com/office/drawing/2014/main" val="1221098424"/>
                    </a:ext>
                  </a:extLst>
                </a:gridCol>
                <a:gridCol w="649783">
                  <a:extLst>
                    <a:ext uri="{9D8B030D-6E8A-4147-A177-3AD203B41FA5}">
                      <a16:colId xmlns:a16="http://schemas.microsoft.com/office/drawing/2014/main" val="3692122185"/>
                    </a:ext>
                  </a:extLst>
                </a:gridCol>
                <a:gridCol w="828036">
                  <a:extLst>
                    <a:ext uri="{9D8B030D-6E8A-4147-A177-3AD203B41FA5}">
                      <a16:colId xmlns:a16="http://schemas.microsoft.com/office/drawing/2014/main" val="1293771174"/>
                    </a:ext>
                  </a:extLst>
                </a:gridCol>
                <a:gridCol w="738909">
                  <a:extLst>
                    <a:ext uri="{9D8B030D-6E8A-4147-A177-3AD203B41FA5}">
                      <a16:colId xmlns:a16="http://schemas.microsoft.com/office/drawing/2014/main" val="819924639"/>
                    </a:ext>
                  </a:extLst>
                </a:gridCol>
                <a:gridCol w="738909">
                  <a:extLst>
                    <a:ext uri="{9D8B030D-6E8A-4147-A177-3AD203B41FA5}">
                      <a16:colId xmlns:a16="http://schemas.microsoft.com/office/drawing/2014/main" val="3879572750"/>
                    </a:ext>
                  </a:extLst>
                </a:gridCol>
                <a:gridCol w="738909">
                  <a:extLst>
                    <a:ext uri="{9D8B030D-6E8A-4147-A177-3AD203B41FA5}">
                      <a16:colId xmlns:a16="http://schemas.microsoft.com/office/drawing/2014/main" val="1141675607"/>
                    </a:ext>
                  </a:extLst>
                </a:gridCol>
                <a:gridCol w="738909">
                  <a:extLst>
                    <a:ext uri="{9D8B030D-6E8A-4147-A177-3AD203B41FA5}">
                      <a16:colId xmlns:a16="http://schemas.microsoft.com/office/drawing/2014/main" val="4249868820"/>
                    </a:ext>
                  </a:extLst>
                </a:gridCol>
                <a:gridCol w="738909">
                  <a:extLst>
                    <a:ext uri="{9D8B030D-6E8A-4147-A177-3AD203B41FA5}">
                      <a16:colId xmlns:a16="http://schemas.microsoft.com/office/drawing/2014/main" val="227758813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900" dirty="0" err="1"/>
                        <a:t>Start_time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 err="1"/>
                        <a:t>End_time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Ap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Ca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Gau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P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Safe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Ti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8055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9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0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4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1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38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16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Apply Ti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60001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900" dirty="0"/>
                        <a:t>0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4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8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8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48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16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16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Apply Ti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090605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900" dirty="0"/>
                        <a:t>1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3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8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16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5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16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5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Setting Uni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817389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2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2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16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6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16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2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Apply Ti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66337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667771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50C632-3D7D-415B-A188-2F83DE747823}" type="datetime1">
              <a:rPr lang="de-DE" noProof="0" smtClean="0"/>
              <a:t>24.04.22</a:t>
            </a:fld>
            <a:endParaRPr lang="de-CH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CH"/>
              <a:t>Slide </a:t>
            </a:r>
            <a:fld id="{5ACA52AF-F19D-405C-AD5F-7D94B96A5CC3}" type="slidenum">
              <a:rPr lang="de-CH" smtClean="0"/>
              <a:pPr/>
              <a:t>4</a:t>
            </a:fld>
            <a:endParaRPr lang="de-CH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3A64FAD-0F10-3EB4-0716-BBA160C9273F}"/>
              </a:ext>
            </a:extLst>
          </p:cNvPr>
          <p:cNvSpPr txBox="1">
            <a:spLocks/>
          </p:cNvSpPr>
          <p:nvPr/>
        </p:nvSpPr>
        <p:spPr>
          <a:xfrm>
            <a:off x="333258" y="343320"/>
            <a:ext cx="9517419" cy="90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GB" dirty="0"/>
              <a:t>Tobi Pro Glasses 2</a:t>
            </a:r>
            <a:br>
              <a:rPr lang="en-GB" dirty="0"/>
            </a:br>
            <a:r>
              <a:rPr lang="en-GB" dirty="0">
                <a:solidFill>
                  <a:srgbClr val="82BD1C"/>
                </a:solidFill>
              </a:rPr>
              <a:t>Introduction</a:t>
            </a:r>
            <a:r>
              <a:rPr lang="en-GB" dirty="0">
                <a:solidFill>
                  <a:srgbClr val="999999"/>
                </a:solidFill>
              </a:rPr>
              <a:t> |</a:t>
            </a:r>
            <a:r>
              <a:rPr lang="en-GB" dirty="0">
                <a:solidFill>
                  <a:srgbClr val="82BD1C"/>
                </a:solidFill>
              </a:rPr>
              <a:t> </a:t>
            </a:r>
            <a:r>
              <a:rPr lang="en-GB" dirty="0">
                <a:solidFill>
                  <a:srgbClr val="999999"/>
                </a:solidFill>
              </a:rPr>
              <a:t>MTL</a:t>
            </a:r>
            <a:r>
              <a:rPr lang="en-GB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en-GB" dirty="0">
                <a:solidFill>
                  <a:srgbClr val="999999"/>
                </a:solidFill>
              </a:rPr>
              <a:t>| </a:t>
            </a:r>
            <a:r>
              <a:rPr lang="en-GB" dirty="0">
                <a:solidFill>
                  <a:schemeClr val="bg2">
                    <a:lumMod val="65000"/>
                  </a:schemeClr>
                </a:solidFill>
              </a:rPr>
              <a:t>Supervised vs Unsupervised </a:t>
            </a:r>
            <a:r>
              <a:rPr lang="en-GB" dirty="0">
                <a:solidFill>
                  <a:srgbClr val="999999"/>
                </a:solidFill>
              </a:rPr>
              <a:t>| Results | </a:t>
            </a:r>
            <a:r>
              <a:rPr lang="en-GB" dirty="0" err="1">
                <a:solidFill>
                  <a:srgbClr val="999999"/>
                </a:solidFill>
              </a:rPr>
              <a:t>Mediapipe</a:t>
            </a:r>
            <a:r>
              <a:rPr lang="en-GB" dirty="0">
                <a:solidFill>
                  <a:srgbClr val="999999"/>
                </a:solidFill>
              </a:rPr>
              <a:t> | New Algorithm | Metrics | Conclusion | Bibliography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EDF5961C-891E-ADFD-4BCD-9D78A484071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5008" y="1658112"/>
            <a:ext cx="7852957" cy="3190615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E510C38F-2CDF-2BC3-28FA-37CA0748926E}"/>
              </a:ext>
            </a:extLst>
          </p:cNvPr>
          <p:cNvSpPr txBox="1"/>
          <p:nvPr/>
        </p:nvSpPr>
        <p:spPr>
          <a:xfrm>
            <a:off x="259558" y="1658112"/>
            <a:ext cx="3995450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fr-CH" i="1" dirty="0"/>
              <a:t>High- </a:t>
            </a:r>
            <a:r>
              <a:rPr lang="fr-CH" i="1" dirty="0" err="1"/>
              <a:t>definition</a:t>
            </a:r>
            <a:r>
              <a:rPr lang="fr-CH" i="1" dirty="0"/>
              <a:t> </a:t>
            </a:r>
            <a:r>
              <a:rPr lang="fr-CH" i="1" dirty="0" err="1"/>
              <a:t>scene</a:t>
            </a:r>
            <a:r>
              <a:rPr lang="fr-CH" i="1" dirty="0"/>
              <a:t> camera - Captures a Full HD </a:t>
            </a:r>
            <a:r>
              <a:rPr lang="fr-CH" i="1" dirty="0" err="1"/>
              <a:t>video</a:t>
            </a:r>
            <a:r>
              <a:rPr lang="fr-CH" i="1" dirty="0"/>
              <a:t> of </a:t>
            </a:r>
            <a:r>
              <a:rPr lang="fr-CH" i="1" dirty="0" err="1"/>
              <a:t>what</a:t>
            </a:r>
            <a:r>
              <a:rPr lang="fr-CH" i="1" dirty="0"/>
              <a:t> </a:t>
            </a:r>
            <a:r>
              <a:rPr lang="fr-CH" i="1" dirty="0" err="1"/>
              <a:t>is</a:t>
            </a:r>
            <a:r>
              <a:rPr lang="fr-CH" i="1" dirty="0"/>
              <a:t> in front of the participant.</a:t>
            </a:r>
          </a:p>
          <a:p>
            <a:pPr marL="342900" indent="-342900">
              <a:buFont typeface="+mj-lt"/>
              <a:buAutoNum type="arabicPeriod"/>
            </a:pPr>
            <a:r>
              <a:rPr lang="fr-CH" i="1" dirty="0"/>
              <a:t>IR </a:t>
            </a:r>
            <a:r>
              <a:rPr lang="fr-CH" i="1" dirty="0" err="1"/>
              <a:t>illuminators</a:t>
            </a:r>
            <a:r>
              <a:rPr lang="fr-CH" i="1" dirty="0"/>
              <a:t> - </a:t>
            </a:r>
            <a:r>
              <a:rPr lang="fr-CH" i="1" dirty="0" err="1"/>
              <a:t>Illuminates</a:t>
            </a:r>
            <a:r>
              <a:rPr lang="fr-CH" i="1" dirty="0"/>
              <a:t> the </a:t>
            </a:r>
            <a:r>
              <a:rPr lang="fr-CH" i="1" dirty="0" err="1"/>
              <a:t>eyes</a:t>
            </a:r>
            <a:r>
              <a:rPr lang="fr-CH" i="1" dirty="0"/>
              <a:t> to support the </a:t>
            </a:r>
            <a:r>
              <a:rPr lang="fr-CH" i="1" dirty="0" err="1"/>
              <a:t>eye</a:t>
            </a:r>
            <a:r>
              <a:rPr lang="fr-CH" i="1" dirty="0"/>
              <a:t> </a:t>
            </a:r>
            <a:r>
              <a:rPr lang="fr-CH" i="1" dirty="0" err="1"/>
              <a:t>tracking</a:t>
            </a:r>
            <a:r>
              <a:rPr lang="fr-CH" i="1" dirty="0"/>
              <a:t> </a:t>
            </a:r>
            <a:r>
              <a:rPr lang="fr-CH" i="1" dirty="0" err="1"/>
              <a:t>sensors</a:t>
            </a:r>
            <a:r>
              <a:rPr lang="fr-CH" i="1" dirty="0"/>
              <a:t>. </a:t>
            </a:r>
          </a:p>
          <a:p>
            <a:pPr marL="342900" indent="-342900">
              <a:buFont typeface="+mj-lt"/>
              <a:buAutoNum type="arabicPeriod"/>
            </a:pPr>
            <a:r>
              <a:rPr lang="fr-CH" i="1" dirty="0"/>
              <a:t>Eye </a:t>
            </a:r>
            <a:r>
              <a:rPr lang="fr-CH" i="1" dirty="0" err="1"/>
              <a:t>tracking</a:t>
            </a:r>
            <a:r>
              <a:rPr lang="fr-CH" i="1" dirty="0"/>
              <a:t> </a:t>
            </a:r>
            <a:r>
              <a:rPr lang="fr-CH" i="1" dirty="0" err="1"/>
              <a:t>sensors</a:t>
            </a:r>
            <a:r>
              <a:rPr lang="fr-CH" i="1" dirty="0"/>
              <a:t> - Records </a:t>
            </a:r>
            <a:r>
              <a:rPr lang="fr-CH" i="1" dirty="0" err="1"/>
              <a:t>eye</a:t>
            </a:r>
            <a:r>
              <a:rPr lang="fr-CH" i="1" dirty="0"/>
              <a:t> orientation e.g. the direction of the </a:t>
            </a:r>
            <a:r>
              <a:rPr lang="fr-CH" i="1" dirty="0" err="1"/>
              <a:t>eye</a:t>
            </a:r>
            <a:r>
              <a:rPr lang="fr-CH" i="1" dirty="0"/>
              <a:t> gaze </a:t>
            </a:r>
            <a:endParaRPr lang="fr-CH" dirty="0"/>
          </a:p>
          <a:p>
            <a:r>
              <a:rPr lang="fr-CH" i="1" dirty="0"/>
              <a:t>(</a:t>
            </a:r>
            <a:r>
              <a:rPr lang="fr-CH" i="1" dirty="0" err="1"/>
              <a:t>Tobii</a:t>
            </a:r>
            <a:r>
              <a:rPr lang="fr-CH" i="1" dirty="0"/>
              <a:t> AB 2018). </a:t>
            </a:r>
            <a:endParaRPr lang="fr-CH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48212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3258" y="343320"/>
            <a:ext cx="9517419" cy="900000"/>
          </a:xfrm>
        </p:spPr>
        <p:txBody>
          <a:bodyPr/>
          <a:lstStyle/>
          <a:p>
            <a:r>
              <a:rPr lang="en-GB" dirty="0"/>
              <a:t>Multi Task Learning ( MTL )</a:t>
            </a:r>
            <a:br>
              <a:rPr lang="en-GB" dirty="0"/>
            </a:br>
            <a:r>
              <a:rPr lang="en-GB" dirty="0">
                <a:solidFill>
                  <a:srgbClr val="999999"/>
                </a:solidFill>
              </a:rPr>
              <a:t>Introduction |</a:t>
            </a:r>
            <a:r>
              <a:rPr lang="en-GB" dirty="0">
                <a:solidFill>
                  <a:srgbClr val="82BD1C"/>
                </a:solidFill>
              </a:rPr>
              <a:t> MTL</a:t>
            </a:r>
            <a:r>
              <a:rPr lang="en-GB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en-GB" dirty="0">
                <a:solidFill>
                  <a:srgbClr val="999999"/>
                </a:solidFill>
              </a:rPr>
              <a:t>| </a:t>
            </a:r>
            <a:r>
              <a:rPr lang="en-GB" dirty="0">
                <a:solidFill>
                  <a:schemeClr val="bg2">
                    <a:lumMod val="65000"/>
                  </a:schemeClr>
                </a:solidFill>
              </a:rPr>
              <a:t>Supervised vs Unsupervised </a:t>
            </a:r>
            <a:r>
              <a:rPr lang="en-GB" dirty="0">
                <a:solidFill>
                  <a:srgbClr val="999999"/>
                </a:solidFill>
              </a:rPr>
              <a:t>| Results | </a:t>
            </a:r>
            <a:r>
              <a:rPr lang="en-GB" dirty="0" err="1">
                <a:solidFill>
                  <a:srgbClr val="999999"/>
                </a:solidFill>
              </a:rPr>
              <a:t>Mediapipe</a:t>
            </a:r>
            <a:r>
              <a:rPr lang="en-GB" dirty="0">
                <a:solidFill>
                  <a:srgbClr val="999999"/>
                </a:solidFill>
              </a:rPr>
              <a:t> | New Algorithm | Metrics | Conclusion | Bibliograph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1C1CE0-4435-42AA-82F5-2BFBD918BAAB}" type="datetime1">
              <a:rPr lang="de-DE" noProof="0" smtClean="0"/>
              <a:t>24.04.22</a:t>
            </a:fld>
            <a:endParaRPr lang="de-CH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CH"/>
              <a:t>Slide </a:t>
            </a:r>
            <a:fld id="{5ACA52AF-F19D-405C-AD5F-7D94B96A5CC3}" type="slidenum">
              <a:rPr lang="de-CH" smtClean="0"/>
              <a:pPr/>
              <a:t>5</a:t>
            </a:fld>
            <a:endParaRPr lang="de-CH" dirty="0"/>
          </a:p>
        </p:txBody>
      </p:sp>
      <p:pic>
        <p:nvPicPr>
          <p:cNvPr id="7" name="Espace réservé du contenu 4">
            <a:extLst>
              <a:ext uri="{FF2B5EF4-FFF2-40B4-BE49-F238E27FC236}">
                <a16:creationId xmlns:a16="http://schemas.microsoft.com/office/drawing/2014/main" id="{58392833-2800-1478-F492-F13EA1C1B8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91968" y="1342331"/>
            <a:ext cx="6631664" cy="4973748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3669F56A-44DE-69F1-7EEA-7DF6B7A27405}"/>
              </a:ext>
            </a:extLst>
          </p:cNvPr>
          <p:cNvSpPr txBox="1"/>
          <p:nvPr/>
        </p:nvSpPr>
        <p:spPr>
          <a:xfrm>
            <a:off x="582098" y="1655445"/>
            <a:ext cx="3922869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itial Ide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dirty="0"/>
              <a:t>Sharing </a:t>
            </a:r>
            <a:r>
              <a:rPr lang="fr-CH" dirty="0" err="1"/>
              <a:t>representations</a:t>
            </a:r>
            <a:r>
              <a:rPr lang="fr-CH" dirty="0"/>
              <a:t> </a:t>
            </a:r>
            <a:r>
              <a:rPr lang="fr-CH" dirty="0" err="1"/>
              <a:t>between</a:t>
            </a:r>
            <a:r>
              <a:rPr lang="fr-CH" dirty="0"/>
              <a:t> </a:t>
            </a:r>
          </a:p>
          <a:p>
            <a:r>
              <a:rPr lang="fr-CH" dirty="0" err="1"/>
              <a:t>related</a:t>
            </a:r>
            <a:r>
              <a:rPr lang="fr-CH" dirty="0"/>
              <a:t> </a:t>
            </a:r>
            <a:r>
              <a:rPr lang="fr-CH" dirty="0" err="1"/>
              <a:t>tasks</a:t>
            </a:r>
            <a:r>
              <a:rPr lang="fr-CH" dirty="0"/>
              <a:t>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51757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3258" y="378453"/>
            <a:ext cx="9517419" cy="900000"/>
          </a:xfrm>
        </p:spPr>
        <p:txBody>
          <a:bodyPr/>
          <a:lstStyle/>
          <a:p>
            <a:r>
              <a:rPr lang="en-GB" dirty="0"/>
              <a:t>Supervised VS Unsupervised learning</a:t>
            </a:r>
            <a:br>
              <a:rPr lang="en-GB" dirty="0"/>
            </a:br>
            <a:r>
              <a:rPr lang="en-GB" dirty="0">
                <a:solidFill>
                  <a:srgbClr val="999999"/>
                </a:solidFill>
              </a:rPr>
              <a:t>Introduction |</a:t>
            </a:r>
            <a:r>
              <a:rPr lang="en-GB" dirty="0">
                <a:solidFill>
                  <a:srgbClr val="82BD1C"/>
                </a:solidFill>
              </a:rPr>
              <a:t> </a:t>
            </a:r>
            <a:r>
              <a:rPr lang="en-GB" dirty="0">
                <a:solidFill>
                  <a:schemeClr val="bg2">
                    <a:lumMod val="65000"/>
                  </a:schemeClr>
                </a:solidFill>
              </a:rPr>
              <a:t>MTL</a:t>
            </a:r>
            <a:r>
              <a:rPr lang="en-GB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en-GB" dirty="0">
                <a:solidFill>
                  <a:srgbClr val="999999"/>
                </a:solidFill>
              </a:rPr>
              <a:t>| </a:t>
            </a:r>
            <a:r>
              <a:rPr lang="en-GB" dirty="0">
                <a:solidFill>
                  <a:srgbClr val="82BD1C"/>
                </a:solidFill>
              </a:rPr>
              <a:t>Supervised vs Unsupervised </a:t>
            </a:r>
            <a:r>
              <a:rPr lang="en-GB" dirty="0">
                <a:solidFill>
                  <a:srgbClr val="999999"/>
                </a:solidFill>
              </a:rPr>
              <a:t>| Results | </a:t>
            </a:r>
            <a:r>
              <a:rPr lang="en-GB" dirty="0" err="1">
                <a:solidFill>
                  <a:srgbClr val="999999"/>
                </a:solidFill>
              </a:rPr>
              <a:t>Mediapipe</a:t>
            </a:r>
            <a:r>
              <a:rPr lang="en-GB" dirty="0">
                <a:solidFill>
                  <a:srgbClr val="999999"/>
                </a:solidFill>
              </a:rPr>
              <a:t> | New Algorithm | Metrics | Conclusion | Bibliograph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1C1CE0-4435-42AA-82F5-2BFBD918BAAB}" type="datetime1">
              <a:rPr lang="de-DE" noProof="0" smtClean="0"/>
              <a:t>24.04.22</a:t>
            </a:fld>
            <a:endParaRPr lang="de-CH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CH"/>
              <a:t>Slide </a:t>
            </a:r>
            <a:fld id="{5ACA52AF-F19D-405C-AD5F-7D94B96A5CC3}" type="slidenum">
              <a:rPr lang="de-CH" smtClean="0"/>
              <a:pPr/>
              <a:t>6</a:t>
            </a:fld>
            <a:endParaRPr lang="de-CH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669F56A-44DE-69F1-7EEA-7DF6B7A27405}"/>
              </a:ext>
            </a:extLst>
          </p:cNvPr>
          <p:cNvSpPr txBox="1"/>
          <p:nvPr/>
        </p:nvSpPr>
        <p:spPr>
          <a:xfrm>
            <a:off x="333258" y="1842480"/>
            <a:ext cx="3089307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Different</a:t>
            </a:r>
            <a:r>
              <a:rPr lang="fr-CH" dirty="0"/>
              <a:t> </a:t>
            </a:r>
            <a:r>
              <a:rPr lang="fr-CH" dirty="0" err="1"/>
              <a:t>approaches</a:t>
            </a:r>
            <a:r>
              <a:rPr lang="fr-CH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dirty="0"/>
              <a:t>Clustering the data </a:t>
            </a:r>
            <a:r>
              <a:rPr lang="fr-CH" dirty="0" err="1"/>
              <a:t>using</a:t>
            </a:r>
            <a:r>
              <a:rPr lang="fr-CH" dirty="0"/>
              <a:t> </a:t>
            </a:r>
          </a:p>
          <a:p>
            <a:r>
              <a:rPr lang="fr-CH" dirty="0" err="1"/>
              <a:t>Kmeans</a:t>
            </a:r>
            <a:r>
              <a:rPr lang="fr-CH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dirty="0"/>
              <a:t>Raw data as an input to</a:t>
            </a:r>
          </a:p>
          <a:p>
            <a:r>
              <a:rPr lang="fr-CH" dirty="0"/>
              <a:t> a Neural Network (NN).</a:t>
            </a:r>
          </a:p>
          <a:p>
            <a:endParaRPr lang="en-US" dirty="0"/>
          </a:p>
        </p:txBody>
      </p:sp>
      <p:pic>
        <p:nvPicPr>
          <p:cNvPr id="8" name="Espace réservé du contenu 4">
            <a:extLst>
              <a:ext uri="{FF2B5EF4-FFF2-40B4-BE49-F238E27FC236}">
                <a16:creationId xmlns:a16="http://schemas.microsoft.com/office/drawing/2014/main" id="{09AE5D16-7346-7353-293B-EF75DB66ACE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574472" y="1565592"/>
            <a:ext cx="8133025" cy="3636963"/>
          </a:xfrm>
        </p:spPr>
      </p:pic>
    </p:spTree>
    <p:extLst>
      <p:ext uri="{BB962C8B-B14F-4D97-AF65-F5344CB8AC3E}">
        <p14:creationId xmlns:p14="http://schemas.microsoft.com/office/powerpoint/2010/main" val="18200325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3258" y="378453"/>
            <a:ext cx="9517419" cy="900000"/>
          </a:xfrm>
        </p:spPr>
        <p:txBody>
          <a:bodyPr/>
          <a:lstStyle/>
          <a:p>
            <a:r>
              <a:rPr lang="en-GB" dirty="0"/>
              <a:t>Advantages and Disadvantages</a:t>
            </a:r>
            <a:br>
              <a:rPr lang="en-GB" dirty="0"/>
            </a:br>
            <a:r>
              <a:rPr lang="en-GB" dirty="0">
                <a:solidFill>
                  <a:srgbClr val="999999"/>
                </a:solidFill>
              </a:rPr>
              <a:t>Introduction |</a:t>
            </a:r>
            <a:r>
              <a:rPr lang="en-GB" dirty="0">
                <a:solidFill>
                  <a:srgbClr val="82BD1C"/>
                </a:solidFill>
              </a:rPr>
              <a:t> </a:t>
            </a:r>
            <a:r>
              <a:rPr lang="en-GB" dirty="0">
                <a:solidFill>
                  <a:schemeClr val="bg2">
                    <a:lumMod val="65000"/>
                  </a:schemeClr>
                </a:solidFill>
              </a:rPr>
              <a:t>MTL</a:t>
            </a:r>
            <a:r>
              <a:rPr lang="en-GB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en-GB" dirty="0">
                <a:solidFill>
                  <a:srgbClr val="999999"/>
                </a:solidFill>
              </a:rPr>
              <a:t>| </a:t>
            </a:r>
            <a:r>
              <a:rPr lang="en-GB" dirty="0">
                <a:solidFill>
                  <a:srgbClr val="82BD1C"/>
                </a:solidFill>
              </a:rPr>
              <a:t>Supervised vs Unsupervised </a:t>
            </a:r>
            <a:r>
              <a:rPr lang="en-GB" dirty="0">
                <a:solidFill>
                  <a:srgbClr val="999999"/>
                </a:solidFill>
              </a:rPr>
              <a:t>| Results | </a:t>
            </a:r>
            <a:r>
              <a:rPr lang="en-GB" dirty="0" err="1">
                <a:solidFill>
                  <a:srgbClr val="999999"/>
                </a:solidFill>
              </a:rPr>
              <a:t>Mediapipe</a:t>
            </a:r>
            <a:r>
              <a:rPr lang="en-GB" dirty="0">
                <a:solidFill>
                  <a:srgbClr val="999999"/>
                </a:solidFill>
              </a:rPr>
              <a:t> | New Algorithm | Metrics | Conclusion | Bibliograph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1C1CE0-4435-42AA-82F5-2BFBD918BAAB}" type="datetime1">
              <a:rPr lang="de-DE" noProof="0" smtClean="0"/>
              <a:t>24.04.22</a:t>
            </a:fld>
            <a:endParaRPr lang="de-CH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CH"/>
              <a:t>Slide </a:t>
            </a:r>
            <a:fld id="{5ACA52AF-F19D-405C-AD5F-7D94B96A5CC3}" type="slidenum">
              <a:rPr lang="de-CH" smtClean="0"/>
              <a:pPr/>
              <a:t>7</a:t>
            </a:fld>
            <a:endParaRPr lang="de-CH" dirty="0"/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E479E373-4E4E-0BB3-40DA-C6A5031E826E}"/>
              </a:ext>
            </a:extLst>
          </p:cNvPr>
          <p:cNvSpPr txBox="1"/>
          <p:nvPr/>
        </p:nvSpPr>
        <p:spPr>
          <a:xfrm>
            <a:off x="2615312" y="1499616"/>
            <a:ext cx="14029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dvantages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6F39693E-93FD-3478-23AA-AD27C2088C36}"/>
              </a:ext>
            </a:extLst>
          </p:cNvPr>
          <p:cNvSpPr txBox="1"/>
          <p:nvPr/>
        </p:nvSpPr>
        <p:spPr>
          <a:xfrm>
            <a:off x="7113038" y="1499616"/>
            <a:ext cx="15953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dirty="0"/>
              <a:t>Disadvantage</a:t>
            </a:r>
            <a:endParaRPr lang="en-US" dirty="0"/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4BB47626-2F7E-5E18-FC30-62B5B07B32AE}"/>
              </a:ext>
            </a:extLst>
          </p:cNvPr>
          <p:cNvSpPr txBox="1"/>
          <p:nvPr/>
        </p:nvSpPr>
        <p:spPr>
          <a:xfrm>
            <a:off x="536448" y="2267712"/>
            <a:ext cx="133882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upervised</a:t>
            </a:r>
          </a:p>
          <a:p>
            <a:r>
              <a:rPr lang="en-US" dirty="0"/>
              <a:t>Learning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F378774F-EFD4-4821-F488-C6CAB3F36FD6}"/>
              </a:ext>
            </a:extLst>
          </p:cNvPr>
          <p:cNvSpPr txBox="1"/>
          <p:nvPr/>
        </p:nvSpPr>
        <p:spPr>
          <a:xfrm>
            <a:off x="536448" y="4486656"/>
            <a:ext cx="165942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Unsupervised </a:t>
            </a:r>
          </a:p>
          <a:p>
            <a:r>
              <a:rPr lang="en-US" dirty="0"/>
              <a:t>Learning</a:t>
            </a:r>
          </a:p>
        </p:txBody>
      </p: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13F725CD-6353-FCB2-827A-DBCE063F5B21}"/>
              </a:ext>
            </a:extLst>
          </p:cNvPr>
          <p:cNvCxnSpPr/>
          <p:nvPr/>
        </p:nvCxnSpPr>
        <p:spPr>
          <a:xfrm>
            <a:off x="536448" y="3755136"/>
            <a:ext cx="1092371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eur droit 17">
            <a:extLst>
              <a:ext uri="{FF2B5EF4-FFF2-40B4-BE49-F238E27FC236}">
                <a16:creationId xmlns:a16="http://schemas.microsoft.com/office/drawing/2014/main" id="{4224E8F0-3D59-82C5-313C-924407E2CA4D}"/>
              </a:ext>
            </a:extLst>
          </p:cNvPr>
          <p:cNvCxnSpPr/>
          <p:nvPr/>
        </p:nvCxnSpPr>
        <p:spPr>
          <a:xfrm>
            <a:off x="6327648" y="1389888"/>
            <a:ext cx="0" cy="499844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18">
            <a:extLst>
              <a:ext uri="{FF2B5EF4-FFF2-40B4-BE49-F238E27FC236}">
                <a16:creationId xmlns:a16="http://schemas.microsoft.com/office/drawing/2014/main" id="{5502A90B-C3C1-9B2A-C50C-906B2B742716}"/>
              </a:ext>
            </a:extLst>
          </p:cNvPr>
          <p:cNvCxnSpPr/>
          <p:nvPr/>
        </p:nvCxnSpPr>
        <p:spPr>
          <a:xfrm>
            <a:off x="2195877" y="1389888"/>
            <a:ext cx="0" cy="499844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ZoneTexte 19">
            <a:extLst>
              <a:ext uri="{FF2B5EF4-FFF2-40B4-BE49-F238E27FC236}">
                <a16:creationId xmlns:a16="http://schemas.microsoft.com/office/drawing/2014/main" id="{F2C4B5CF-A372-D147-50FC-BB3C0EA70894}"/>
              </a:ext>
            </a:extLst>
          </p:cNvPr>
          <p:cNvSpPr txBox="1"/>
          <p:nvPr/>
        </p:nvSpPr>
        <p:spPr>
          <a:xfrm>
            <a:off x="6465419" y="1898381"/>
            <a:ext cx="406393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eeds a lot of computer resour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isk of overfit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FD207516-5059-E347-2BB4-7E2650C9C505}"/>
              </a:ext>
            </a:extLst>
          </p:cNvPr>
          <p:cNvSpPr txBox="1"/>
          <p:nvPr/>
        </p:nvSpPr>
        <p:spPr>
          <a:xfrm>
            <a:off x="2195878" y="1898381"/>
            <a:ext cx="413177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dirty="0" err="1"/>
              <a:t>Easy</a:t>
            </a:r>
            <a:r>
              <a:rPr lang="fr-CH" dirty="0"/>
              <a:t> to </a:t>
            </a:r>
            <a:r>
              <a:rPr lang="fr-CH" dirty="0" err="1"/>
              <a:t>find</a:t>
            </a:r>
            <a:r>
              <a:rPr lang="fr-CH" dirty="0"/>
              <a:t> how </a:t>
            </a:r>
            <a:r>
              <a:rPr lang="fr-CH" dirty="0" err="1"/>
              <a:t>many</a:t>
            </a:r>
            <a:r>
              <a:rPr lang="fr-CH" dirty="0"/>
              <a:t> classes are </a:t>
            </a:r>
            <a:r>
              <a:rPr lang="fr-CH" dirty="0" err="1"/>
              <a:t>there</a:t>
            </a:r>
            <a:r>
              <a:rPr lang="fr-CH" dirty="0"/>
              <a:t> </a:t>
            </a:r>
            <a:r>
              <a:rPr lang="fr-CH" dirty="0" err="1"/>
              <a:t>before</a:t>
            </a:r>
            <a:r>
              <a:rPr lang="fr-CH" dirty="0"/>
              <a:t> </a:t>
            </a:r>
            <a:r>
              <a:rPr lang="fr-CH" dirty="0" err="1"/>
              <a:t>giving</a:t>
            </a:r>
            <a:r>
              <a:rPr lang="fr-CH" dirty="0"/>
              <a:t> data for trai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Very efficient once it has been properly trained</a:t>
            </a:r>
            <a:endParaRPr lang="fr-CH" dirty="0"/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9E3AD063-339E-7E95-9784-45C01F076E22}"/>
              </a:ext>
            </a:extLst>
          </p:cNvPr>
          <p:cNvSpPr txBox="1"/>
          <p:nvPr/>
        </p:nvSpPr>
        <p:spPr>
          <a:xfrm>
            <a:off x="2301763" y="3939803"/>
            <a:ext cx="402588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es not need as much computer resour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 risk of overfit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BEF53E80-2DCF-C1AB-9DBA-1BEFC6201F4E}"/>
              </a:ext>
            </a:extLst>
          </p:cNvPr>
          <p:cNvSpPr txBox="1"/>
          <p:nvPr/>
        </p:nvSpPr>
        <p:spPr>
          <a:xfrm>
            <a:off x="6394635" y="3939803"/>
            <a:ext cx="511114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eed to interpret the optimal number of clust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 </a:t>
            </a:r>
            <a:r>
              <a:rPr lang="fr-CH" dirty="0"/>
              <a:t>It </a:t>
            </a:r>
            <a:r>
              <a:rPr lang="fr-CH" dirty="0" err="1"/>
              <a:t>is</a:t>
            </a:r>
            <a:r>
              <a:rPr lang="fr-CH" dirty="0"/>
              <a:t> not </a:t>
            </a:r>
            <a:r>
              <a:rPr lang="fr-CH" dirty="0" err="1"/>
              <a:t>always</a:t>
            </a:r>
            <a:r>
              <a:rPr lang="fr-CH" dirty="0"/>
              <a:t> certain </a:t>
            </a:r>
            <a:r>
              <a:rPr lang="fr-CH" dirty="0" err="1"/>
              <a:t>that</a:t>
            </a:r>
            <a:r>
              <a:rPr lang="fr-CH" dirty="0"/>
              <a:t> the </a:t>
            </a:r>
            <a:r>
              <a:rPr lang="fr-CH" dirty="0" err="1"/>
              <a:t>obtained</a:t>
            </a:r>
            <a:r>
              <a:rPr lang="fr-CH" dirty="0"/>
              <a:t> </a:t>
            </a:r>
            <a:r>
              <a:rPr lang="fr-CH" dirty="0" err="1"/>
              <a:t>results</a:t>
            </a:r>
            <a:r>
              <a:rPr lang="fr-CH" dirty="0"/>
              <a:t> </a:t>
            </a:r>
            <a:r>
              <a:rPr lang="fr-CH" dirty="0" err="1"/>
              <a:t>will</a:t>
            </a:r>
            <a:r>
              <a:rPr lang="fr-CH" dirty="0"/>
              <a:t> </a:t>
            </a:r>
            <a:r>
              <a:rPr lang="fr-CH" dirty="0" err="1"/>
              <a:t>be</a:t>
            </a:r>
            <a:r>
              <a:rPr lang="fr-CH" dirty="0"/>
              <a:t> </a:t>
            </a:r>
            <a:r>
              <a:rPr lang="fr-CH" dirty="0" err="1"/>
              <a:t>useful</a:t>
            </a:r>
            <a:r>
              <a:rPr lang="fr-CH" dirty="0"/>
              <a:t> </a:t>
            </a:r>
            <a:r>
              <a:rPr lang="fr-CH" dirty="0" err="1"/>
              <a:t>since</a:t>
            </a:r>
            <a:r>
              <a:rPr lang="fr-CH" dirty="0"/>
              <a:t> </a:t>
            </a:r>
            <a:r>
              <a:rPr lang="fr-CH" dirty="0" err="1"/>
              <a:t>there</a:t>
            </a:r>
            <a:r>
              <a:rPr lang="fr-CH" dirty="0"/>
              <a:t> </a:t>
            </a:r>
            <a:r>
              <a:rPr lang="fr-CH" dirty="0" err="1"/>
              <a:t>is</a:t>
            </a:r>
            <a:r>
              <a:rPr lang="fr-CH" dirty="0"/>
              <a:t> no label or output </a:t>
            </a:r>
            <a:r>
              <a:rPr lang="fr-CH" dirty="0" err="1"/>
              <a:t>measure</a:t>
            </a:r>
            <a:r>
              <a:rPr lang="fr-CH" dirty="0"/>
              <a:t> to </a:t>
            </a:r>
            <a:r>
              <a:rPr lang="fr-CH" dirty="0" err="1"/>
              <a:t>confirm</a:t>
            </a:r>
            <a:r>
              <a:rPr lang="fr-CH" dirty="0"/>
              <a:t> </a:t>
            </a:r>
            <a:r>
              <a:rPr lang="fr-CH" dirty="0" err="1"/>
              <a:t>its</a:t>
            </a:r>
            <a:r>
              <a:rPr lang="fr-CH" dirty="0"/>
              <a:t> </a:t>
            </a:r>
            <a:r>
              <a:rPr lang="fr-CH" dirty="0" err="1"/>
              <a:t>usefulness</a:t>
            </a:r>
            <a:r>
              <a:rPr lang="fr-CH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47246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3258" y="378453"/>
            <a:ext cx="9517419" cy="900000"/>
          </a:xfrm>
        </p:spPr>
        <p:txBody>
          <a:bodyPr/>
          <a:lstStyle/>
          <a:p>
            <a:r>
              <a:rPr lang="en-GB" dirty="0"/>
              <a:t>Unsupervised Learning Results</a:t>
            </a:r>
            <a:br>
              <a:rPr lang="en-GB" dirty="0"/>
            </a:br>
            <a:r>
              <a:rPr lang="en-GB" dirty="0">
                <a:solidFill>
                  <a:srgbClr val="999999"/>
                </a:solidFill>
              </a:rPr>
              <a:t>Introduction |</a:t>
            </a:r>
            <a:r>
              <a:rPr lang="en-GB" dirty="0">
                <a:solidFill>
                  <a:srgbClr val="82BD1C"/>
                </a:solidFill>
              </a:rPr>
              <a:t> </a:t>
            </a:r>
            <a:r>
              <a:rPr lang="en-GB" dirty="0">
                <a:solidFill>
                  <a:schemeClr val="bg2">
                    <a:lumMod val="65000"/>
                  </a:schemeClr>
                </a:solidFill>
              </a:rPr>
              <a:t>MTL</a:t>
            </a:r>
            <a:r>
              <a:rPr lang="en-GB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en-GB" dirty="0">
                <a:solidFill>
                  <a:srgbClr val="999999"/>
                </a:solidFill>
              </a:rPr>
              <a:t>| </a:t>
            </a:r>
            <a:r>
              <a:rPr lang="en-GB" dirty="0">
                <a:solidFill>
                  <a:schemeClr val="bg2">
                    <a:lumMod val="65000"/>
                  </a:schemeClr>
                </a:solidFill>
              </a:rPr>
              <a:t>Supervised vs Unsupervised </a:t>
            </a:r>
            <a:r>
              <a:rPr lang="en-GB" dirty="0">
                <a:solidFill>
                  <a:srgbClr val="999999"/>
                </a:solidFill>
              </a:rPr>
              <a:t>| </a:t>
            </a:r>
            <a:r>
              <a:rPr lang="en-GB" dirty="0">
                <a:solidFill>
                  <a:srgbClr val="82BD1C"/>
                </a:solidFill>
              </a:rPr>
              <a:t>Results</a:t>
            </a:r>
            <a:r>
              <a:rPr lang="en-GB" dirty="0">
                <a:solidFill>
                  <a:srgbClr val="999999"/>
                </a:solidFill>
              </a:rPr>
              <a:t> | </a:t>
            </a:r>
            <a:r>
              <a:rPr lang="en-GB" dirty="0" err="1">
                <a:solidFill>
                  <a:srgbClr val="999999"/>
                </a:solidFill>
              </a:rPr>
              <a:t>Mediapipe</a:t>
            </a:r>
            <a:r>
              <a:rPr lang="en-GB" dirty="0">
                <a:solidFill>
                  <a:srgbClr val="999999"/>
                </a:solidFill>
              </a:rPr>
              <a:t> | New Algorithm | Metrics | Conclusion | Bibliograph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1C1CE0-4435-42AA-82F5-2BFBD918BAAB}" type="datetime1">
              <a:rPr lang="de-DE" noProof="0" smtClean="0"/>
              <a:t>24.04.22</a:t>
            </a:fld>
            <a:endParaRPr lang="de-CH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CH"/>
              <a:t>Slide </a:t>
            </a:r>
            <a:fld id="{5ACA52AF-F19D-405C-AD5F-7D94B96A5CC3}" type="slidenum">
              <a:rPr lang="de-CH" smtClean="0"/>
              <a:pPr/>
              <a:t>8</a:t>
            </a:fld>
            <a:endParaRPr lang="de-CH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669F56A-44DE-69F1-7EEA-7DF6B7A27405}"/>
              </a:ext>
            </a:extLst>
          </p:cNvPr>
          <p:cNvSpPr txBox="1"/>
          <p:nvPr/>
        </p:nvSpPr>
        <p:spPr>
          <a:xfrm>
            <a:off x="333258" y="4970140"/>
            <a:ext cx="957334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dirty="0"/>
              <a:t>Low </a:t>
            </a:r>
            <a:r>
              <a:rPr lang="fr-CH" dirty="0" err="1"/>
              <a:t>accuracy</a:t>
            </a:r>
            <a:r>
              <a:rPr lang="fr-CH" dirty="0"/>
              <a:t> (15%)  </a:t>
            </a:r>
            <a:r>
              <a:rPr lang="fr-CH" dirty="0" err="1"/>
              <a:t>probably</a:t>
            </a:r>
            <a:r>
              <a:rPr lang="fr-CH" dirty="0"/>
              <a:t> due to high </a:t>
            </a:r>
            <a:r>
              <a:rPr lang="fr-CH" dirty="0" err="1"/>
              <a:t>dimensionality</a:t>
            </a:r>
            <a:r>
              <a:rPr lang="fr-CH" dirty="0"/>
              <a:t> ( 7 </a:t>
            </a:r>
            <a:r>
              <a:rPr lang="fr-CH" dirty="0" err="1"/>
              <a:t>dimensional</a:t>
            </a:r>
            <a:r>
              <a:rPr lang="fr-CH" dirty="0"/>
              <a:t> data )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dirty="0" err="1"/>
              <a:t>We</a:t>
            </a:r>
            <a:r>
              <a:rPr lang="fr-CH" dirty="0"/>
              <a:t> </a:t>
            </a:r>
            <a:r>
              <a:rPr lang="fr-CH" dirty="0" err="1"/>
              <a:t>had</a:t>
            </a:r>
            <a:r>
              <a:rPr lang="fr-CH" dirty="0"/>
              <a:t> to </a:t>
            </a:r>
            <a:r>
              <a:rPr lang="fr-CH" dirty="0" err="1"/>
              <a:t>find</a:t>
            </a:r>
            <a:r>
              <a:rPr lang="fr-CH" dirty="0"/>
              <a:t> a new solution / </a:t>
            </a:r>
            <a:r>
              <a:rPr lang="fr-CH" dirty="0" err="1"/>
              <a:t>approach</a:t>
            </a:r>
            <a:r>
              <a:rPr lang="fr-CH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CH" dirty="0"/>
          </a:p>
        </p:txBody>
      </p:sp>
      <p:pic>
        <p:nvPicPr>
          <p:cNvPr id="8" name="Espace réservé du contenu 4">
            <a:extLst>
              <a:ext uri="{FF2B5EF4-FFF2-40B4-BE49-F238E27FC236}">
                <a16:creationId xmlns:a16="http://schemas.microsoft.com/office/drawing/2014/main" id="{F8A0CCEF-500D-0FA2-AD37-720EFDF0B03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2060" t="1049" r="2106"/>
          <a:stretch/>
        </p:blipFill>
        <p:spPr>
          <a:xfrm>
            <a:off x="333258" y="1426195"/>
            <a:ext cx="4722265" cy="3292475"/>
          </a:xfr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DB08183E-D440-74D7-98E3-1A4ECE8C41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51192" y="1586532"/>
            <a:ext cx="6407550" cy="2971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50683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3258" y="378453"/>
            <a:ext cx="9517419" cy="900000"/>
          </a:xfrm>
        </p:spPr>
        <p:txBody>
          <a:bodyPr/>
          <a:lstStyle/>
          <a:p>
            <a:r>
              <a:rPr lang="en-GB" dirty="0"/>
              <a:t>Silhouette Coefficients</a:t>
            </a:r>
            <a:br>
              <a:rPr lang="en-GB" dirty="0"/>
            </a:br>
            <a:r>
              <a:rPr lang="en-GB" dirty="0">
                <a:solidFill>
                  <a:srgbClr val="999999"/>
                </a:solidFill>
              </a:rPr>
              <a:t>Introduction |</a:t>
            </a:r>
            <a:r>
              <a:rPr lang="en-GB" dirty="0">
                <a:solidFill>
                  <a:srgbClr val="82BD1C"/>
                </a:solidFill>
              </a:rPr>
              <a:t> </a:t>
            </a:r>
            <a:r>
              <a:rPr lang="en-GB" dirty="0">
                <a:solidFill>
                  <a:schemeClr val="bg2">
                    <a:lumMod val="65000"/>
                  </a:schemeClr>
                </a:solidFill>
              </a:rPr>
              <a:t>MTL</a:t>
            </a:r>
            <a:r>
              <a:rPr lang="en-GB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en-GB" dirty="0">
                <a:solidFill>
                  <a:srgbClr val="999999"/>
                </a:solidFill>
              </a:rPr>
              <a:t>| </a:t>
            </a:r>
            <a:r>
              <a:rPr lang="en-GB" dirty="0">
                <a:solidFill>
                  <a:schemeClr val="bg2">
                    <a:lumMod val="65000"/>
                  </a:schemeClr>
                </a:solidFill>
              </a:rPr>
              <a:t>Supervised vs Unsupervised </a:t>
            </a:r>
            <a:r>
              <a:rPr lang="en-GB" dirty="0">
                <a:solidFill>
                  <a:srgbClr val="999999"/>
                </a:solidFill>
              </a:rPr>
              <a:t>| </a:t>
            </a:r>
            <a:r>
              <a:rPr lang="en-GB" dirty="0">
                <a:solidFill>
                  <a:srgbClr val="82BD1C"/>
                </a:solidFill>
              </a:rPr>
              <a:t>Results</a:t>
            </a:r>
            <a:r>
              <a:rPr lang="en-GB" dirty="0">
                <a:solidFill>
                  <a:srgbClr val="999999"/>
                </a:solidFill>
              </a:rPr>
              <a:t> | </a:t>
            </a:r>
            <a:r>
              <a:rPr lang="en-GB" dirty="0" err="1">
                <a:solidFill>
                  <a:srgbClr val="999999"/>
                </a:solidFill>
              </a:rPr>
              <a:t>Mediapipe</a:t>
            </a:r>
            <a:r>
              <a:rPr lang="en-GB" dirty="0">
                <a:solidFill>
                  <a:srgbClr val="999999"/>
                </a:solidFill>
              </a:rPr>
              <a:t> | New Algorithm | Metrics | Conclusion | Bibliograph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1C1CE0-4435-42AA-82F5-2BFBD918BAAB}" type="datetime1">
              <a:rPr lang="de-DE" noProof="0" smtClean="0"/>
              <a:t>24.04.22</a:t>
            </a:fld>
            <a:endParaRPr lang="de-CH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CH"/>
              <a:t>Slide </a:t>
            </a:r>
            <a:fld id="{5ACA52AF-F19D-405C-AD5F-7D94B96A5CC3}" type="slidenum">
              <a:rPr lang="de-CH" smtClean="0"/>
              <a:pPr/>
              <a:t>9</a:t>
            </a:fld>
            <a:endParaRPr lang="de-CH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669F56A-44DE-69F1-7EEA-7DF6B7A27405}"/>
              </a:ext>
            </a:extLst>
          </p:cNvPr>
          <p:cNvSpPr txBox="1"/>
          <p:nvPr/>
        </p:nvSpPr>
        <p:spPr>
          <a:xfrm>
            <a:off x="492465" y="1739152"/>
            <a:ext cx="5603536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dirty="0"/>
              <a:t>Method of </a:t>
            </a:r>
            <a:r>
              <a:rPr lang="fr-CH" dirty="0" err="1"/>
              <a:t>interpretation</a:t>
            </a:r>
            <a:r>
              <a:rPr lang="fr-CH" dirty="0"/>
              <a:t> and validation of </a:t>
            </a:r>
            <a:r>
              <a:rPr lang="fr-CH" dirty="0" err="1"/>
              <a:t>consistency</a:t>
            </a:r>
            <a:r>
              <a:rPr lang="fr-CH" dirty="0"/>
              <a:t> </a:t>
            </a:r>
            <a:r>
              <a:rPr lang="fr-CH" dirty="0" err="1"/>
              <a:t>within</a:t>
            </a:r>
            <a:r>
              <a:rPr lang="fr-CH" dirty="0"/>
              <a:t> clusters of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dirty="0"/>
              <a:t>How </a:t>
            </a:r>
            <a:r>
              <a:rPr lang="fr-CH" dirty="0" err="1"/>
              <a:t>similar</a:t>
            </a:r>
            <a:r>
              <a:rPr lang="fr-CH" dirty="0"/>
              <a:t> an </a:t>
            </a:r>
            <a:r>
              <a:rPr lang="fr-CH" dirty="0" err="1"/>
              <a:t>object</a:t>
            </a:r>
            <a:r>
              <a:rPr lang="fr-CH" dirty="0"/>
              <a:t> </a:t>
            </a:r>
            <a:r>
              <a:rPr lang="fr-CH" dirty="0" err="1"/>
              <a:t>is</a:t>
            </a:r>
            <a:r>
              <a:rPr lang="fr-CH" dirty="0"/>
              <a:t> to </a:t>
            </a:r>
            <a:r>
              <a:rPr lang="fr-CH" dirty="0" err="1"/>
              <a:t>its</a:t>
            </a:r>
            <a:r>
              <a:rPr lang="fr-CH" dirty="0"/>
              <a:t> </a:t>
            </a:r>
            <a:r>
              <a:rPr lang="fr-CH" dirty="0" err="1"/>
              <a:t>own</a:t>
            </a:r>
            <a:r>
              <a:rPr lang="fr-CH" dirty="0"/>
              <a:t> cluster </a:t>
            </a:r>
            <a:r>
              <a:rPr lang="fr-CH" dirty="0" err="1"/>
              <a:t>compared</a:t>
            </a:r>
            <a:r>
              <a:rPr lang="fr-CH" dirty="0"/>
              <a:t> to </a:t>
            </a:r>
            <a:r>
              <a:rPr lang="fr-CH" dirty="0" err="1"/>
              <a:t>other</a:t>
            </a:r>
            <a:r>
              <a:rPr lang="fr-CH" dirty="0"/>
              <a:t> clust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dirty="0"/>
              <a:t>Ranges </a:t>
            </a:r>
            <a:r>
              <a:rPr lang="fr-CH" dirty="0" err="1"/>
              <a:t>from</a:t>
            </a:r>
            <a:r>
              <a:rPr lang="fr-CH" dirty="0"/>
              <a:t> -1 to +1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dirty="0"/>
              <a:t>High value </a:t>
            </a:r>
            <a:r>
              <a:rPr lang="fr-CH" dirty="0" err="1"/>
              <a:t>indicates</a:t>
            </a:r>
            <a:r>
              <a:rPr lang="fr-CH" dirty="0"/>
              <a:t> </a:t>
            </a:r>
            <a:r>
              <a:rPr lang="fr-CH" dirty="0" err="1"/>
              <a:t>that</a:t>
            </a:r>
            <a:r>
              <a:rPr lang="fr-CH" dirty="0"/>
              <a:t> the </a:t>
            </a:r>
            <a:r>
              <a:rPr lang="fr-CH" dirty="0" err="1"/>
              <a:t>object</a:t>
            </a:r>
            <a:r>
              <a:rPr lang="fr-CH" dirty="0"/>
              <a:t> </a:t>
            </a:r>
            <a:r>
              <a:rPr lang="fr-CH" dirty="0" err="1"/>
              <a:t>is</a:t>
            </a:r>
            <a:r>
              <a:rPr lang="fr-CH" dirty="0"/>
              <a:t> </a:t>
            </a:r>
            <a:r>
              <a:rPr lang="fr-CH" dirty="0" err="1"/>
              <a:t>well</a:t>
            </a:r>
            <a:r>
              <a:rPr lang="fr-CH" dirty="0"/>
              <a:t> </a:t>
            </a:r>
            <a:r>
              <a:rPr lang="fr-CH" dirty="0" err="1"/>
              <a:t>matched</a:t>
            </a:r>
            <a:r>
              <a:rPr lang="fr-CH" dirty="0"/>
              <a:t> to </a:t>
            </a:r>
            <a:r>
              <a:rPr lang="fr-CH" dirty="0" err="1"/>
              <a:t>its</a:t>
            </a:r>
            <a:r>
              <a:rPr lang="fr-CH" dirty="0"/>
              <a:t> </a:t>
            </a:r>
            <a:r>
              <a:rPr lang="fr-CH" dirty="0" err="1"/>
              <a:t>own</a:t>
            </a:r>
            <a:r>
              <a:rPr lang="fr-CH" dirty="0"/>
              <a:t> clus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dirty="0"/>
              <a:t>Low value </a:t>
            </a:r>
            <a:r>
              <a:rPr lang="fr-CH" dirty="0" err="1"/>
              <a:t>means</a:t>
            </a:r>
            <a:r>
              <a:rPr lang="fr-CH" dirty="0"/>
              <a:t> clustering configuration </a:t>
            </a:r>
            <a:r>
              <a:rPr lang="fr-CH" dirty="0" err="1"/>
              <a:t>may</a:t>
            </a:r>
            <a:r>
              <a:rPr lang="fr-CH" dirty="0"/>
              <a:t> have </a:t>
            </a:r>
            <a:r>
              <a:rPr lang="fr-CH" dirty="0" err="1"/>
              <a:t>too</a:t>
            </a:r>
            <a:r>
              <a:rPr lang="fr-CH" dirty="0"/>
              <a:t> </a:t>
            </a:r>
            <a:r>
              <a:rPr lang="fr-CH" dirty="0" err="1"/>
              <a:t>many</a:t>
            </a:r>
            <a:r>
              <a:rPr lang="fr-CH" dirty="0"/>
              <a:t> or </a:t>
            </a:r>
            <a:r>
              <a:rPr lang="fr-CH" dirty="0" err="1"/>
              <a:t>too</a:t>
            </a:r>
            <a:r>
              <a:rPr lang="fr-CH" dirty="0"/>
              <a:t> few clust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CH" dirty="0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4C2A5E6E-B383-D33A-975D-C2CD2F642EE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7881" y="1428085"/>
            <a:ext cx="5667021" cy="4703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8917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1&quot; createSections=&quot;0&quot; singleSlideId=&quot;abb28bea-2051-4561-8ff6-20dd3e5e856e&quot; backupSlideId=&quot;5fd501e4-f2b6-46bb-8630-70fc40db7b3e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172.8097&quot; /&gt;&lt;column field=&quot;responsible&quot; label=&quot;Responsible&quot; visible=&quot;1&quot; checked=&quot;1&quot; leftSpacing=&quot;10&quot; rightDistribute=&quot;1&quot; dock=&quot;1&quot; rightSpacing=&quot;172.8097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6dd91492-f852-4d86-b5fe-e82722a186b1&quot; parentId=&quot;&quot; level=&quot;1&quot; generateAgendaSlide=&quot;1&quot; showAgendaItem=&quot;1&quot; isBreak=&quot;0&quot; topic=&quot;Topic 1&quot; agendaSlideId=&quot;9e041f23-ee12-4dd0-a140-05745a7609fe&quot; responsible=&quot;Lukas&quot; /&gt;&lt;item duration=&quot;30&quot; id=&quot;6d691baa-b17c-46fe-a34e-8a885689e8d3&quot; parentId=&quot;&quot; level=&quot;1&quot; generateAgendaSlide=&quot;1&quot; showAgendaItem=&quot;1&quot; isBreak=&quot;0&quot; topic=&quot;Topic 2&quot; agendaSlideId=&quot;6d492b88-1f73-460f-970f-7fde719741bd&quot; /&gt;&lt;item duration=&quot;30&quot; id=&quot;16179364-18af-4998-9962-692dc0217430&quot; parentId=&quot;&quot; level=&quot;1&quot; generateAgendaSlide=&quot;1&quot; showAgendaItem=&quot;1&quot; isBreak=&quot;0&quot; topic=&quot;Topic 3&quot; agendaSlideId=&quot;f15085ca-bf71-4933-8c40-8f9f96c9d065&quot; /&gt;&lt;item duration=&quot;30&quot; id=&quot;caf60bda-ca8b-4aa3-9215-dc1ba9513d73&quot; parentId=&quot;16179364-18af-4998-9962-692dc0217430&quot; level=&quot;2&quot; generateAgendaSlide=&quot;1&quot; showAgendaItem=&quot;1&quot; isBreak=&quot;0&quot; topic=&quot;Topic 3b&quot; agendaSlideId=&quot;3f714e87-2d4b-436b-b0dc-34394eaf733a&quot; /&gt;&lt;/items&gt;&lt;/agenda&gt;&lt;/contents&gt;&lt;/ee4p&gt;"/>
</p:tagLst>
</file>

<file path=ppt/theme/theme1.xml><?xml version="1.0" encoding="utf-8"?>
<a:theme xmlns:a="http://schemas.openxmlformats.org/drawingml/2006/main" name="1_ETH Zürich">
  <a:themeElements>
    <a:clrScheme name="pdz">
      <a:dk1>
        <a:sysClr val="windowText" lastClr="000000"/>
      </a:dk1>
      <a:lt1>
        <a:sysClr val="window" lastClr="FFFFFF"/>
      </a:lt1>
      <a:dk2>
        <a:srgbClr val="0E1D40"/>
      </a:dk2>
      <a:lt2>
        <a:srgbClr val="FFFFFF"/>
      </a:lt2>
      <a:accent1>
        <a:srgbClr val="6F6F6E"/>
      </a:accent1>
      <a:accent2>
        <a:srgbClr val="0069B4"/>
      </a:accent2>
      <a:accent3>
        <a:srgbClr val="82BD1C"/>
      </a:accent3>
      <a:accent4>
        <a:srgbClr val="FDB900"/>
      </a:accent4>
      <a:accent5>
        <a:srgbClr val="FF8F28"/>
      </a:accent5>
      <a:accent6>
        <a:srgbClr val="DE3844"/>
      </a:accent6>
      <a:hlink>
        <a:srgbClr val="0069B4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Extern">
      <a:srgbClr val="1F407A"/>
    </a:custClr>
    <a:custClr name="Intern">
      <a:srgbClr val="485A2C"/>
    </a:custClr>
    <a:custClr name="ETH 3">
      <a:srgbClr val="1269B0"/>
    </a:custClr>
    <a:custClr name="ETH 4">
      <a:srgbClr val="72791C"/>
    </a:custClr>
    <a:custClr name="ETH 5">
      <a:srgbClr val="91056A"/>
    </a:custClr>
    <a:custClr name="ETH 6">
      <a:srgbClr val="6F6F6F"/>
    </a:custClr>
    <a:custClr name="ETH 7">
      <a:srgbClr val="A8322D"/>
    </a:custClr>
    <a:custClr name="ETH 8">
      <a:srgbClr val="007A96"/>
    </a:custClr>
    <a:custClr name="ETH 9">
      <a:srgbClr val="956013"/>
    </a:custClr>
  </a:custClrLst>
  <a:extLst>
    <a:ext uri="{05A4C25C-085E-4340-85A3-A5531E510DB2}">
      <thm15:themeFamily xmlns:thm15="http://schemas.microsoft.com/office/thememl/2012/main" name="Powerpoint template_ETH_pdz_inspire_v1.pptx" id="{B9D24285-734C-43BC-BB48-479CE84F48CB}" vid="{571BE0FC-EBFE-41BB-9C2F-DB48F4805CEE}"/>
    </a:ext>
  </a:extLst>
</a:theme>
</file>

<file path=ppt/theme/theme2.xml><?xml version="1.0" encoding="utf-8"?>
<a:theme xmlns:a="http://schemas.openxmlformats.org/drawingml/2006/main" name="2_inspire">
  <a:themeElements>
    <a:clrScheme name="Inspire_v4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999999"/>
      </a:accent1>
      <a:accent2>
        <a:srgbClr val="E2001A"/>
      </a:accent2>
      <a:accent3>
        <a:srgbClr val="59574B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rot="0" spcFirstLastPara="0" vertOverflow="overflow" horzOverflow="overflow" vert="horz" wrap="square" lIns="0" tIns="0" rIns="0" bIns="0" numCol="1" spcCol="0" rtlCol="0" fromWordArt="0" anchor="t" anchorCtr="0" forceAA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Präsentation inspire IWF 09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äsentation inspire IWF 09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äsentation inspire IWF 09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äsentation inspire IWF 09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äsentation inspire IWF 09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äsentation inspire IWF 09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äsentation inspire IWF 09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äsentation inspire IWF 09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äsentation inspire IWF 09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äsentation inspire IWF 09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äsentation inspire IWF 09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äsentation inspire IWF 09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 template_ETH_pdz_inspire_v1.pptx" id="{B9D24285-734C-43BC-BB48-479CE84F48CB}" vid="{FEA4750C-4800-4577-B7DB-12E26A2EEF16}"/>
    </a:ext>
  </a:extLst>
</a:theme>
</file>

<file path=ppt/theme/theme3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 template_ETH_pdz_inspire_v1</Template>
  <TotalTime>946</TotalTime>
  <Words>1294</Words>
  <Application>Microsoft Macintosh PowerPoint</Application>
  <PresentationFormat>Grand écran</PresentationFormat>
  <Paragraphs>211</Paragraphs>
  <Slides>19</Slides>
  <Notes>0</Notes>
  <HiddenSlides>0</HiddenSlides>
  <MMClips>2</MMClips>
  <ScaleCrop>false</ScaleCrop>
  <HeadingPairs>
    <vt:vector size="6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2</vt:i4>
      </vt:variant>
      <vt:variant>
        <vt:lpstr>Titres des diapositives</vt:lpstr>
      </vt:variant>
      <vt:variant>
        <vt:i4>19</vt:i4>
      </vt:variant>
    </vt:vector>
  </HeadingPairs>
  <TitlesOfParts>
    <vt:vector size="25" baseType="lpstr">
      <vt:lpstr>Arial</vt:lpstr>
      <vt:lpstr>Helvetica 55 Roman</vt:lpstr>
      <vt:lpstr>Symbol</vt:lpstr>
      <vt:lpstr>Wingdings</vt:lpstr>
      <vt:lpstr>1_ETH Zürich</vt:lpstr>
      <vt:lpstr>2_inspire</vt:lpstr>
      <vt:lpstr>Development of an Automated Task Sequencing Framework</vt:lpstr>
      <vt:lpstr>Présentation PowerPoint</vt:lpstr>
      <vt:lpstr>Example Data Introduction | MTL | Supervised vs Unsupervised | Results | Mediapipe | New Algorithm | Metrics | Conclusion | Bibliography</vt:lpstr>
      <vt:lpstr>Présentation PowerPoint</vt:lpstr>
      <vt:lpstr>Multi Task Learning ( MTL ) Introduction | MTL | Supervised vs Unsupervised | Results | Mediapipe | New Algorithm | Metrics | Conclusion | Bibliography</vt:lpstr>
      <vt:lpstr>Supervised VS Unsupervised learning Introduction | MTL | Supervised vs Unsupervised | Results | Mediapipe | New Algorithm | Metrics | Conclusion | Bibliography</vt:lpstr>
      <vt:lpstr>Advantages and Disadvantages Introduction | MTL | Supervised vs Unsupervised | Results | Mediapipe | New Algorithm | Metrics | Conclusion | Bibliography</vt:lpstr>
      <vt:lpstr>Unsupervised Learning Results Introduction | MTL | Supervised vs Unsupervised | Results | Mediapipe | New Algorithm | Metrics | Conclusion | Bibliography</vt:lpstr>
      <vt:lpstr>Silhouette Coefficients Introduction | MTL | Supervised vs Unsupervised | Results | Mediapipe | New Algorithm | Metrics | Conclusion | Bibliography</vt:lpstr>
      <vt:lpstr>Silhouette Coefficients Introduction | MTL | Supervised vs Unsupervised | Results | Mediapipe | New Algorithm | Metrics | Conclusion | Bibliography</vt:lpstr>
      <vt:lpstr>Supervised Learning Results Introduction | MTL | Supervised vs Unsupervised | Results | Mediapipe | New Algorithm | Metrics | Conclusion | Bibliography</vt:lpstr>
      <vt:lpstr>Mediapipe Introduction | MTL | Supervised vs Unsupervised | Results | Mediapipe | New Algorithm | Metrics | Conclusion | Bibliography</vt:lpstr>
      <vt:lpstr>Landmarks Introduction | MTL | Supervised vs Unsupervised | Results | Mediapipe | New Algorithm | Metrics | Conclusion | Bibliography</vt:lpstr>
      <vt:lpstr>Unsupervised Learning Results Introduction | MTL | Supervised vs Unsupervised | Results | Mediapipe | New Algorithm | Metrics | Conclusion | Bibliography</vt:lpstr>
      <vt:lpstr>What we can achieve Introduction | MTL | Supervised vs Unsupervised | Results | Mediapipe | New Algorithm | Metrics | Conclusion | Bibliography</vt:lpstr>
      <vt:lpstr>Metrics Introduction | MTL | Supervised vs Unsupervised | Results | Mediapipe | New Algorithm | Metrics | Conclusion | Bibliography</vt:lpstr>
      <vt:lpstr>Conclusion Introduction | MTL | Supervised vs Unsupervised | Results | Mediapipe | New Algorithm | Metrics | Conclusion | Bibliography</vt:lpstr>
      <vt:lpstr>Bibliography Introduction | MTL | Supervised vs Unsupervised | Results | Mediapipe | New Algorithm | Metrics | Conclusion | Bibliography</vt:lpstr>
      <vt:lpstr>Présentation PowerPoint</vt:lpstr>
    </vt:vector>
  </TitlesOfParts>
  <Company>ETH Zueric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ier steht der Titel der Präsentation</dc:title>
  <dc:creator>Steffanoni  Séline</dc:creator>
  <cp:keywords>pdz;inspire</cp:keywords>
  <dc:description>Präsemtationsvorlage Powerpoint 2003</dc:description>
  <cp:lastModifiedBy>Ghazi Cherif</cp:lastModifiedBy>
  <cp:revision>4</cp:revision>
  <cp:lastPrinted>2020-06-22T08:54:14Z</cp:lastPrinted>
  <dcterms:created xsi:type="dcterms:W3CDTF">2022-03-03T07:29:23Z</dcterms:created>
  <dcterms:modified xsi:type="dcterms:W3CDTF">2022-04-24T21:10:28Z</dcterms:modified>
</cp:coreProperties>
</file>